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omments/comment1.xml" ContentType="application/vnd.openxmlformats-officedocument.presentationml.comment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8" r:id="rId1"/>
    <p:sldMasterId id="2147483662" r:id="rId2"/>
    <p:sldMasterId id="2147483660" r:id="rId3"/>
  </p:sldMasterIdLst>
  <p:notesMasterIdLst>
    <p:notesMasterId r:id="rId13"/>
  </p:notesMasterIdLst>
  <p:sldIdLst>
    <p:sldId id="256" r:id="rId4"/>
    <p:sldId id="257" r:id="rId5"/>
    <p:sldId id="258" r:id="rId6"/>
    <p:sldId id="259" r:id="rId7"/>
    <p:sldId id="260" r:id="rId8"/>
    <p:sldId id="261" r:id="rId9"/>
    <p:sldId id="262" r:id="rId10"/>
    <p:sldId id="263" r:id="rId11"/>
    <p:sldId id="264" r:id="rId12"/>
  </p:sldIdLst>
  <p:sldSz cx="6858000" cy="4846638"/>
  <p:notesSz cx="6858000" cy="9144000"/>
  <p:embeddedFontLst>
    <p:embeddedFont>
      <p:font typeface="Calibri" panose="020F0502020204030204" pitchFamily="34" charset="0"/>
      <p:regular r:id="rId14"/>
      <p:bold r:id="rId15"/>
      <p:italic r:id="rId16"/>
      <p:boldItalic r:id="rId17"/>
    </p:embeddedFont>
    <p:embeddedFont>
      <p:font typeface="Calibri Light" panose="020F0302020204030204" pitchFamily="34" charset="0"/>
      <p:regular r:id="rId18"/>
      <p:italic r:id="rId19"/>
    </p:embeddedFont>
    <p:embeddedFont>
      <p:font typeface="Lora" panose="020B0604020202020204" charset="0"/>
      <p:regular r:id="rId20"/>
      <p:bold r:id="rId21"/>
      <p:italic r:id="rId22"/>
      <p:boldItalic r:id="rId23"/>
    </p:embeddedFont>
  </p:embeddedFontLst>
  <p:custDataLst>
    <p:tags r:id="rId24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751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Виталий Чернов" initials="ВЧ" lastIdx="1" clrIdx="0">
    <p:extLst>
      <p:ext uri="{19B8F6BF-5375-455C-9EA6-DF929625EA0E}">
        <p15:presenceInfo xmlns:p15="http://schemas.microsoft.com/office/powerpoint/2012/main" userId="27fb6a8e7f9d196a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D3F1"/>
    <a:srgbClr val="65D4FF"/>
    <a:srgbClr val="4FCEFF"/>
    <a:srgbClr val="59EAF9"/>
    <a:srgbClr val="143058"/>
    <a:srgbClr val="EDEDED"/>
    <a:srgbClr val="D4CFFD"/>
    <a:srgbClr val="EDE4E7"/>
    <a:srgbClr val="A49DB2"/>
    <a:srgbClr val="78839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4AEDFE0-DD49-4337-BBC6-AE4C98B13D39}">
  <a:tblStyle styleId="{54AEDFE0-DD49-4337-BBC6-AE4C98B13D39}" styleName="Table_0">
    <a:wholeTbl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insideV>
        </a:tcBdr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13" autoAdjust="0"/>
    <p:restoredTop sz="94604" autoAdjust="0"/>
  </p:normalViewPr>
  <p:slideViewPr>
    <p:cSldViewPr snapToGrid="0">
      <p:cViewPr varScale="1">
        <p:scale>
          <a:sx n="143" d="100"/>
          <a:sy n="143" d="100"/>
        </p:scale>
        <p:origin x="1578" y="120"/>
      </p:cViewPr>
      <p:guideLst>
        <p:guide orient="horz" pos="2751"/>
        <p:guide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5.fntdata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font" Target="fonts/font8.fntdata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font" Target="fonts/font4.fntdata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gs" Target="tags/tag1.xml"/><Relationship Id="rId5" Type="http://schemas.openxmlformats.org/officeDocument/2006/relationships/slide" Target="slides/slide2.xml"/><Relationship Id="rId15" Type="http://schemas.openxmlformats.org/officeDocument/2006/relationships/font" Target="fonts/font2.fntdata"/><Relationship Id="rId23" Type="http://schemas.openxmlformats.org/officeDocument/2006/relationships/font" Target="fonts/font10.fntdata"/><Relationship Id="rId28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font" Target="fonts/font6.fntdata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font" Target="fonts/font1.fntdata"/><Relationship Id="rId22" Type="http://schemas.openxmlformats.org/officeDocument/2006/relationships/font" Target="fonts/font9.fntdata"/><Relationship Id="rId27" Type="http://schemas.openxmlformats.org/officeDocument/2006/relationships/viewProps" Target="view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10-10T20:56:35.336" idx="1">
    <p:pos x="4304" y="633"/>
    <p:text/>
    <p:extLst>
      <p:ext uri="{C676402C-5697-4E1C-873F-D02D1690AC5C}">
        <p15:threadingInfo xmlns:p15="http://schemas.microsoft.com/office/powerpoint/2012/main" timeZoneBias="-18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>
            <a:spLocks noGrp="1" noRot="1" noChangeAspect="1"/>
          </p:cNvSpPr>
          <p:nvPr>
            <p:ph type="sldImg" idx="2"/>
          </p:nvPr>
        </p:nvSpPr>
        <p:spPr>
          <a:xfrm>
            <a:off x="1003300" y="685800"/>
            <a:ext cx="48514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4" name="Shape 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 sz="1100"/>
            </a:lvl1pPr>
            <a:lvl2pPr lvl="1">
              <a:spcBef>
                <a:spcPts val="0"/>
              </a:spcBef>
              <a:defRPr sz="1100"/>
            </a:lvl2pPr>
            <a:lvl3pPr lvl="2">
              <a:spcBef>
                <a:spcPts val="0"/>
              </a:spcBef>
              <a:defRPr sz="1100"/>
            </a:lvl3pPr>
            <a:lvl4pPr lvl="3">
              <a:spcBef>
                <a:spcPts val="0"/>
              </a:spcBef>
              <a:defRPr sz="1100"/>
            </a:lvl4pPr>
            <a:lvl5pPr lvl="4">
              <a:spcBef>
                <a:spcPts val="0"/>
              </a:spcBef>
              <a:defRPr sz="1100"/>
            </a:lvl5pPr>
            <a:lvl6pPr lvl="5">
              <a:spcBef>
                <a:spcPts val="0"/>
              </a:spcBef>
              <a:defRPr sz="1100"/>
            </a:lvl6pPr>
            <a:lvl7pPr lvl="6">
              <a:spcBef>
                <a:spcPts val="0"/>
              </a:spcBef>
              <a:defRPr sz="1100"/>
            </a:lvl7pPr>
            <a:lvl8pPr lvl="7">
              <a:spcBef>
                <a:spcPts val="0"/>
              </a:spcBef>
              <a:defRPr sz="1100"/>
            </a:lvl8pPr>
            <a:lvl9pPr lvl="8">
              <a:spcBef>
                <a:spcPts val="0"/>
              </a:spcBef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00511332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0763269"/>
              </p:ext>
            </p:extLst>
          </p:nvPr>
        </p:nvGraphicFramePr>
        <p:xfrm>
          <a:off x="1589" y="1497"/>
          <a:ext cx="1587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497"/>
                        <a:ext cx="1587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457370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7561784"/>
              </p:ext>
            </p:extLst>
          </p:nvPr>
        </p:nvGraphicFramePr>
        <p:xfrm>
          <a:off x="1589" y="1497"/>
          <a:ext cx="1587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497"/>
                        <a:ext cx="1587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983004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3874087"/>
              </p:ext>
            </p:extLst>
          </p:nvPr>
        </p:nvGraphicFramePr>
        <p:xfrm>
          <a:off x="1589" y="1497"/>
          <a:ext cx="1587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497"/>
                        <a:ext cx="1587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792416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3" Type="http://schemas.openxmlformats.org/officeDocument/2006/relationships/vmlDrawing" Target="../drawings/vmlDrawing3.vml"/><Relationship Id="rId7" Type="http://schemas.openxmlformats.org/officeDocument/2006/relationships/image" Target="../media/image3.jp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vmlDrawing" Target="../drawings/vmlDrawing5.vml"/><Relationship Id="rId7" Type="http://schemas.openxmlformats.org/officeDocument/2006/relationships/image" Target="../media/image5.jp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tags" Target="../tags/tag6.xml"/><Relationship Id="rId9" Type="http://schemas.openxmlformats.org/officeDocument/2006/relationships/image" Target="../media/image4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41007159"/>
              </p:ext>
            </p:extLst>
          </p:nvPr>
        </p:nvGraphicFramePr>
        <p:xfrm>
          <a:off x="1192" y="1498"/>
          <a:ext cx="1190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498"/>
                        <a:ext cx="1190" cy="149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9" y="0"/>
            <a:ext cx="6853861" cy="4846638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>
            <a:off x="3101340" y="678180"/>
            <a:ext cx="3444240" cy="23393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9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28522543"/>
              </p:ext>
            </p:extLst>
          </p:nvPr>
        </p:nvGraphicFramePr>
        <p:xfrm>
          <a:off x="1192" y="1498"/>
          <a:ext cx="1190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498"/>
                        <a:ext cx="1190" cy="149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9" y="0"/>
            <a:ext cx="6853861" cy="4846638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403"/>
          <a:stretch/>
        </p:blipFill>
        <p:spPr>
          <a:xfrm>
            <a:off x="2069" y="4381500"/>
            <a:ext cx="6853861" cy="465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849982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3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21024685"/>
              </p:ext>
            </p:extLst>
          </p:nvPr>
        </p:nvGraphicFramePr>
        <p:xfrm>
          <a:off x="1192" y="1498"/>
          <a:ext cx="1190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498"/>
                        <a:ext cx="1190" cy="149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9" y="0"/>
            <a:ext cx="6853861" cy="484663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69" y="4328160"/>
            <a:ext cx="6853861" cy="51847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403"/>
          <a:stretch/>
        </p:blipFill>
        <p:spPr>
          <a:xfrm>
            <a:off x="2069" y="4381500"/>
            <a:ext cx="6853861" cy="465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049595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8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10" Type="http://schemas.openxmlformats.org/officeDocument/2006/relationships/image" Target="../media/image11.jp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omments" Target="../comments/comment1.xml"/><Relationship Id="rId3" Type="http://schemas.openxmlformats.org/officeDocument/2006/relationships/slideLayout" Target="../slideLayouts/slideLayout3.xml"/><Relationship Id="rId7" Type="http://schemas.openxmlformats.org/officeDocument/2006/relationships/hyperlink" Target="http://pelikan.online/" TargetMode="Externa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g"/><Relationship Id="rId3" Type="http://schemas.openxmlformats.org/officeDocument/2006/relationships/slideLayout" Target="../slideLayouts/slideLayout3.xml"/><Relationship Id="rId7" Type="http://schemas.openxmlformats.org/officeDocument/2006/relationships/hyperlink" Target="https://pdo-socrat.pro/" TargetMode="Externa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hyperlink" Target="mailto:pdo.socrat@gmail.com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Relationship Id="rId9" Type="http://schemas.openxmlformats.org/officeDocument/2006/relationships/image" Target="../media/image17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0741273"/>
              </p:ext>
            </p:extLst>
          </p:nvPr>
        </p:nvGraphicFramePr>
        <p:xfrm>
          <a:off x="199405" y="1497"/>
          <a:ext cx="1495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405" y="1497"/>
                        <a:ext cx="1495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3016359" y="2045578"/>
            <a:ext cx="3776327" cy="219259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buSzPct val="100000"/>
              <a:buFont typeface="Lora"/>
            </a:pPr>
            <a:r>
              <a:rPr lang="ru-RU" sz="24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Презентация проекта ПДО Сократ</a:t>
            </a:r>
            <a:endParaRPr lang="en-US" sz="2400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</p:spTree>
    <p:extLst>
      <p:ext uri="{BB962C8B-B14F-4D97-AF65-F5344CB8AC3E}">
        <p14:creationId xmlns:p14="http://schemas.microsoft.com/office/powerpoint/2010/main" val="24639986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0741273"/>
              </p:ext>
            </p:extLst>
          </p:nvPr>
        </p:nvGraphicFramePr>
        <p:xfrm>
          <a:off x="199405" y="1497"/>
          <a:ext cx="1495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405" y="1497"/>
                        <a:ext cx="1495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207845" y="220406"/>
            <a:ext cx="4339663" cy="40011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800" b="1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ЧТО ДЕЛАЕМ? </a:t>
            </a:r>
            <a:endParaRPr lang="en-US" sz="1800" b="1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  <a:p>
            <a:pPr>
              <a:buSzPct val="100000"/>
              <a:buFont typeface="Lora"/>
            </a:pPr>
            <a:r>
              <a:rPr lang="ru-RU" sz="12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Краткое описание проекта, боль клиента, цель</a:t>
            </a:r>
            <a:endParaRPr lang="en-GB" sz="1200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970345" y="220406"/>
            <a:ext cx="1887655" cy="40011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b="1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НАЧАЛО ПРОЕКТА</a:t>
            </a:r>
            <a:endParaRPr lang="en-US" b="1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  <a:p>
            <a:pPr>
              <a:buSzPct val="100000"/>
              <a:buFont typeface="Lora"/>
            </a:pPr>
            <a:r>
              <a:rPr lang="ru-RU" sz="12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Август 2019</a:t>
            </a:r>
            <a:endParaRPr lang="en-GB" sz="1200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57953" y="789480"/>
            <a:ext cx="5539036" cy="54474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800" b="1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ПДО Сократ – платформа дистанционного образования для общеобразовательных школ</a:t>
            </a:r>
            <a:endParaRPr lang="en-GB" sz="1200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57953" y="1388286"/>
            <a:ext cx="6611147" cy="132768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cs typeface="Lora" panose="020B0604020202020204" charset="0"/>
              </a:rPr>
              <a:t>На территории РФ действует "Федеральный закон № 273-ФЗ от 29.12.2012 «Об образовании в Российской Федерации» Инклюзивное образование – на сегодня он не реализован никак.</a:t>
            </a:r>
          </a:p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Сократ</a:t>
            </a:r>
            <a:r>
              <a:rPr lang="en-US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 – 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это облачный</a:t>
            </a:r>
            <a:r>
              <a:rPr lang="en-US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 SaaS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 сервис</a:t>
            </a:r>
            <a:r>
              <a:rPr lang="en-US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,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 на данном этапе, позволяющий ученикам удалённо не только присутствовать на уроке, но и участвовать в нём.</a:t>
            </a:r>
          </a:p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Основные проблемы  потребителей сервиса – </a:t>
            </a:r>
            <a:r>
              <a:rPr lang="ru-RU" sz="1100" dirty="0" err="1">
                <a:latin typeface="Calibri Light" panose="020F0302020204030204" pitchFamily="34" charset="0"/>
                <a:ea typeface="Lora"/>
                <a:cs typeface="Lora" panose="020B0604020202020204" charset="0"/>
              </a:rPr>
              <a:t>госбюджетность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, консервативность, </a:t>
            </a:r>
            <a:r>
              <a:rPr lang="ru-RU" sz="1100" dirty="0" err="1">
                <a:latin typeface="Calibri Light" panose="020F0302020204030204" pitchFamily="34" charset="0"/>
                <a:ea typeface="Lora"/>
                <a:cs typeface="Lora" panose="020B0604020202020204" charset="0"/>
              </a:rPr>
              <a:t>инерциальность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 мышления и т.д. Решается выходом через уже работающие с ними организации.</a:t>
            </a:r>
          </a:p>
        </p:txBody>
      </p:sp>
      <p:sp>
        <p:nvSpPr>
          <p:cNvPr id="10" name="Rectangle 9"/>
          <p:cNvSpPr/>
          <p:nvPr/>
        </p:nvSpPr>
        <p:spPr>
          <a:xfrm>
            <a:off x="157951" y="2519462"/>
            <a:ext cx="4812392" cy="60135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b="1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Цель проекта через 12 месяцев:</a:t>
            </a:r>
          </a:p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Занять не менее 10% рынка в Ленинградской и Московской области, Москве. Ежемесячная выручка будет более 1 000 000 руб.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57951" y="3087948"/>
            <a:ext cx="4812393" cy="60135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b="1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Цель проекта через 3 года:</a:t>
            </a:r>
          </a:p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занять рынок Московской и Ленинградской обл. не менее чем на 30% и выйти на ежемесячную выручку  более 5 000 000 руб. </a:t>
            </a:r>
          </a:p>
        </p:txBody>
      </p:sp>
      <p:sp>
        <p:nvSpPr>
          <p:cNvPr id="12" name="Rectangle 10">
            <a:extLst>
              <a:ext uri="{FF2B5EF4-FFF2-40B4-BE49-F238E27FC236}">
                <a16:creationId xmlns:a16="http://schemas.microsoft.com/office/drawing/2014/main" id="{11D32431-A5D3-4033-8BB2-881AB35ACBDF}"/>
              </a:ext>
            </a:extLst>
          </p:cNvPr>
          <p:cNvSpPr/>
          <p:nvPr/>
        </p:nvSpPr>
        <p:spPr>
          <a:xfrm>
            <a:off x="157950" y="3756481"/>
            <a:ext cx="4812393" cy="60135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b="1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Цель проекта через 5 лет:</a:t>
            </a:r>
          </a:p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занять рынок Московской и Ленинградской обл. не менее чем на 50%, выйти на рынок СНГ, подключить ВУЗы и выйти на ежемесячную выручку более          20 000 000 руб.</a:t>
            </a:r>
          </a:p>
        </p:txBody>
      </p:sp>
    </p:spTree>
    <p:extLst>
      <p:ext uri="{BB962C8B-B14F-4D97-AF65-F5344CB8AC3E}">
        <p14:creationId xmlns:p14="http://schemas.microsoft.com/office/powerpoint/2010/main" val="5307640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0128167"/>
              </p:ext>
            </p:extLst>
          </p:nvPr>
        </p:nvGraphicFramePr>
        <p:xfrm>
          <a:off x="199405" y="1497"/>
          <a:ext cx="1495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405" y="1497"/>
                        <a:ext cx="1495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207845" y="220406"/>
            <a:ext cx="4339663" cy="40011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800" b="1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СТАДИЯ ПРОДУКТА</a:t>
            </a:r>
            <a:endParaRPr lang="en-US" sz="1800" b="1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  <a:p>
            <a:pPr>
              <a:buSzPct val="100000"/>
              <a:buFont typeface="Lora"/>
            </a:pPr>
            <a:r>
              <a:rPr lang="ru-RU" sz="12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что есть, какие средние месячные обороты?</a:t>
            </a:r>
            <a:endParaRPr lang="en-GB" sz="1200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753" y="1133199"/>
            <a:ext cx="3399977" cy="199049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Проект был начат в 2014 году по заказу системного интегратора из Санкт-Петербурга. В силу начавшегося кризиса в стране, проект был свёрнут.</a:t>
            </a:r>
          </a:p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В 2018 г. состоялась аналогичная договорённость в Перми</a:t>
            </a:r>
            <a:r>
              <a:rPr lang="en-US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.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 Проблемы с финансами начались на стадии тестирования.</a:t>
            </a:r>
          </a:p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 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53" y="3094266"/>
            <a:ext cx="4389555" cy="7396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53" y="3773812"/>
            <a:ext cx="4465755" cy="61917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62203" y="832878"/>
            <a:ext cx="2794338" cy="237087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042" y="3915647"/>
            <a:ext cx="379375" cy="33550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105" y="3207082"/>
            <a:ext cx="471251" cy="357696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721918" y="3208508"/>
            <a:ext cx="2632811" cy="50493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Договорённость с Пермью:  подключение около 70 школ, с Ленинградской областью – около 95 </a:t>
            </a:r>
          </a:p>
        </p:txBody>
      </p:sp>
      <p:sp>
        <p:nvSpPr>
          <p:cNvPr id="14" name="Rectangle 13"/>
          <p:cNvSpPr/>
          <p:nvPr/>
        </p:nvSpPr>
        <p:spPr>
          <a:xfrm>
            <a:off x="781404" y="3888052"/>
            <a:ext cx="3766104" cy="3802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После тестового внедрения в ряде школ, количество инсталляций будет расти как снежный ком. </a:t>
            </a:r>
          </a:p>
          <a:p>
            <a:pPr>
              <a:buSzPct val="100000"/>
              <a:buFont typeface="Lora"/>
            </a:pPr>
            <a:r>
              <a:rPr lang="ru-RU" sz="1100" dirty="0" err="1">
                <a:latin typeface="Calibri Light" panose="020F0302020204030204" pitchFamily="34" charset="0"/>
                <a:ea typeface="Lora"/>
                <a:cs typeface="Lora" panose="020B0604020202020204" charset="0"/>
              </a:rPr>
              <a:t>Короновирус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 простимулировал интерес к теме.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328" y="3893659"/>
            <a:ext cx="417312" cy="369051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A026A383-C71C-4D62-A97A-49FA564F6F4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141729" y="848413"/>
            <a:ext cx="2329570" cy="1756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39738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0741273"/>
              </p:ext>
            </p:extLst>
          </p:nvPr>
        </p:nvGraphicFramePr>
        <p:xfrm>
          <a:off x="199405" y="1497"/>
          <a:ext cx="1495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405" y="1497"/>
                        <a:ext cx="1495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207845" y="220406"/>
            <a:ext cx="4339663" cy="40011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800" b="1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КАК? ПЛАН ДЕЙСТВИЙ</a:t>
            </a:r>
            <a:endParaRPr lang="en-GB" sz="1800" b="1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13200" y="1469618"/>
            <a:ext cx="2641600" cy="294095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845" y="1368018"/>
            <a:ext cx="1328584" cy="2827945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1555323" y="1486356"/>
            <a:ext cx="2479888" cy="75239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Переделать </a:t>
            </a:r>
            <a:r>
              <a:rPr lang="en-US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SPA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 приложение с </a:t>
            </a:r>
            <a:r>
              <a:rPr lang="en-US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AngularJS1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 на </a:t>
            </a:r>
            <a:r>
              <a:rPr lang="en-US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ReactJS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, ввести функционал родительских собраний, кабинет директора, разработать школьный мессенджер.</a:t>
            </a:r>
          </a:p>
        </p:txBody>
      </p:sp>
      <p:sp>
        <p:nvSpPr>
          <p:cNvPr id="8" name="Rectangle 7"/>
          <p:cNvSpPr/>
          <p:nvPr/>
        </p:nvSpPr>
        <p:spPr>
          <a:xfrm>
            <a:off x="1555323" y="2607883"/>
            <a:ext cx="2318177" cy="46011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Провести тестирование в школах, настроить </a:t>
            </a:r>
            <a:r>
              <a:rPr lang="ru-RU" sz="1100" dirty="0" err="1">
                <a:latin typeface="Calibri Light" panose="020F0302020204030204" pitchFamily="34" charset="0"/>
                <a:ea typeface="Lora"/>
                <a:cs typeface="Lora" panose="020B0604020202020204" charset="0"/>
              </a:rPr>
              <a:t>билинг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. Провести брендирование.</a:t>
            </a:r>
          </a:p>
        </p:txBody>
      </p:sp>
      <p:sp>
        <p:nvSpPr>
          <p:cNvPr id="9" name="Rectangle 8"/>
          <p:cNvSpPr/>
          <p:nvPr/>
        </p:nvSpPr>
        <p:spPr>
          <a:xfrm>
            <a:off x="1536429" y="3274062"/>
            <a:ext cx="2318177" cy="84753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Предварительно каждая школа будет приносить от 10000 р. /мес. + доп. услуги (родительские собрания, совещания и т.д.)</a:t>
            </a:r>
          </a:p>
        </p:txBody>
      </p:sp>
      <p:sp>
        <p:nvSpPr>
          <p:cNvPr id="10" name="Rectangle 9"/>
          <p:cNvSpPr/>
          <p:nvPr/>
        </p:nvSpPr>
        <p:spPr>
          <a:xfrm>
            <a:off x="4064001" y="1611678"/>
            <a:ext cx="2479888" cy="217292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buSzPct val="100000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В течение </a:t>
            </a:r>
            <a:r>
              <a:rPr lang="ru-RU" sz="1100" b="1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12 месяцев 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реализуем заявленные возможности.</a:t>
            </a:r>
          </a:p>
          <a:p>
            <a:pPr algn="ctr">
              <a:buSzPct val="100000"/>
              <a:buFont typeface="Lora"/>
            </a:pPr>
            <a:endParaRPr lang="ru-RU" sz="1100" dirty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  <a:p>
            <a:pPr algn="ctr">
              <a:buSzPct val="100000"/>
              <a:buFont typeface="Lora"/>
            </a:pPr>
            <a:r>
              <a:rPr lang="ru-RU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Привлечем не меньше 100 школ, которые будут приносить от 10000 р. / мес.</a:t>
            </a:r>
          </a:p>
          <a:p>
            <a:pPr algn="ctr">
              <a:buSzPct val="100000"/>
              <a:buFont typeface="Lora"/>
            </a:pPr>
            <a:endParaRPr lang="ru-RU" sz="1100" dirty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  <a:p>
            <a:pPr algn="ctr">
              <a:buSzPct val="100000"/>
              <a:buFont typeface="Lora"/>
            </a:pPr>
            <a:r>
              <a:rPr lang="ru-RU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Стоимость привлечения составит 0 рублей, т.к. интегратор сам будет этим заниматься</a:t>
            </a:r>
          </a:p>
          <a:p>
            <a:pPr algn="ctr">
              <a:buSzPct val="100000"/>
              <a:buFont typeface="Lora"/>
            </a:pPr>
            <a:endParaRPr lang="ru-RU" sz="1100" dirty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  <a:p>
            <a:pPr algn="ctr">
              <a:buSzPct val="100000"/>
              <a:buFont typeface="Lora"/>
            </a:pPr>
            <a:endParaRPr lang="ru-RU" sz="1100" dirty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146860" y="823377"/>
            <a:ext cx="2804995" cy="46011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buSzPct val="100000"/>
              <a:buFont typeface="Lora"/>
            </a:pPr>
            <a:r>
              <a:rPr lang="ru-RU" sz="1600" b="1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План достижения цели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2146300" y="1247090"/>
            <a:ext cx="28194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03729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0741273"/>
              </p:ext>
            </p:extLst>
          </p:nvPr>
        </p:nvGraphicFramePr>
        <p:xfrm>
          <a:off x="199405" y="1497"/>
          <a:ext cx="1495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405" y="1497"/>
                        <a:ext cx="1495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207845" y="220406"/>
            <a:ext cx="4339663" cy="40011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800" b="1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СКОЛЬКО? </a:t>
            </a:r>
          </a:p>
          <a:p>
            <a:pPr>
              <a:buSzPct val="100000"/>
              <a:buFont typeface="Lora"/>
            </a:pPr>
            <a:r>
              <a:rPr lang="ru-RU" sz="12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Будущие денежные потоки проекта</a:t>
            </a:r>
            <a:endParaRPr lang="en-GB" sz="1200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710326" y="207674"/>
            <a:ext cx="2968063" cy="55080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8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Предложение инвестору на стадии « уже не эмбрион, но ещё немного до новорожденного</a:t>
            </a:r>
            <a:r>
              <a:rPr lang="en-US" sz="8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@</a:t>
            </a:r>
            <a:r>
              <a:rPr lang="ru-RU" sz="8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: 10 000 000 рублей за 10% компании, при оценке компании 100 000 000 рублей.</a:t>
            </a:r>
            <a:r>
              <a:rPr lang="en-US" sz="8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 </a:t>
            </a:r>
            <a:r>
              <a:rPr lang="ru-RU" sz="8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5 000 000 рублей вложено живых денег (разработка).</a:t>
            </a:r>
          </a:p>
        </p:txBody>
      </p:sp>
      <p:graphicFrame>
        <p:nvGraphicFramePr>
          <p:cNvPr id="2" name="Таблица 1">
            <a:extLst>
              <a:ext uri="{FF2B5EF4-FFF2-40B4-BE49-F238E27FC236}">
                <a16:creationId xmlns:a16="http://schemas.microsoft.com/office/drawing/2014/main" id="{232D2114-C633-4F57-9620-ECC30EDE49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2263227"/>
              </p:ext>
            </p:extLst>
          </p:nvPr>
        </p:nvGraphicFramePr>
        <p:xfrm>
          <a:off x="207845" y="974470"/>
          <a:ext cx="6470545" cy="2970130"/>
        </p:xfrm>
        <a:graphic>
          <a:graphicData uri="http://schemas.openxmlformats.org/drawingml/2006/table">
            <a:tbl>
              <a:tblPr>
                <a:tableStyleId>{54AEDFE0-DD49-4337-BBC6-AE4C98B13D39}</a:tableStyleId>
              </a:tblPr>
              <a:tblGrid>
                <a:gridCol w="819551">
                  <a:extLst>
                    <a:ext uri="{9D8B030D-6E8A-4147-A177-3AD203B41FA5}">
                      <a16:colId xmlns:a16="http://schemas.microsoft.com/office/drawing/2014/main" val="1526132049"/>
                    </a:ext>
                  </a:extLst>
                </a:gridCol>
                <a:gridCol w="330942">
                  <a:extLst>
                    <a:ext uri="{9D8B030D-6E8A-4147-A177-3AD203B41FA5}">
                      <a16:colId xmlns:a16="http://schemas.microsoft.com/office/drawing/2014/main" val="2902116622"/>
                    </a:ext>
                  </a:extLst>
                </a:gridCol>
                <a:gridCol w="330942">
                  <a:extLst>
                    <a:ext uri="{9D8B030D-6E8A-4147-A177-3AD203B41FA5}">
                      <a16:colId xmlns:a16="http://schemas.microsoft.com/office/drawing/2014/main" val="2395691105"/>
                    </a:ext>
                  </a:extLst>
                </a:gridCol>
                <a:gridCol w="330942">
                  <a:extLst>
                    <a:ext uri="{9D8B030D-6E8A-4147-A177-3AD203B41FA5}">
                      <a16:colId xmlns:a16="http://schemas.microsoft.com/office/drawing/2014/main" val="3190459282"/>
                    </a:ext>
                  </a:extLst>
                </a:gridCol>
                <a:gridCol w="355919">
                  <a:extLst>
                    <a:ext uri="{9D8B030D-6E8A-4147-A177-3AD203B41FA5}">
                      <a16:colId xmlns:a16="http://schemas.microsoft.com/office/drawing/2014/main" val="249819236"/>
                    </a:ext>
                  </a:extLst>
                </a:gridCol>
                <a:gridCol w="355919">
                  <a:extLst>
                    <a:ext uri="{9D8B030D-6E8A-4147-A177-3AD203B41FA5}">
                      <a16:colId xmlns:a16="http://schemas.microsoft.com/office/drawing/2014/main" val="1983688471"/>
                    </a:ext>
                  </a:extLst>
                </a:gridCol>
                <a:gridCol w="355919">
                  <a:extLst>
                    <a:ext uri="{9D8B030D-6E8A-4147-A177-3AD203B41FA5}">
                      <a16:colId xmlns:a16="http://schemas.microsoft.com/office/drawing/2014/main" val="2530461676"/>
                    </a:ext>
                  </a:extLst>
                </a:gridCol>
                <a:gridCol w="355919">
                  <a:extLst>
                    <a:ext uri="{9D8B030D-6E8A-4147-A177-3AD203B41FA5}">
                      <a16:colId xmlns:a16="http://schemas.microsoft.com/office/drawing/2014/main" val="4068112066"/>
                    </a:ext>
                  </a:extLst>
                </a:gridCol>
                <a:gridCol w="355919">
                  <a:extLst>
                    <a:ext uri="{9D8B030D-6E8A-4147-A177-3AD203B41FA5}">
                      <a16:colId xmlns:a16="http://schemas.microsoft.com/office/drawing/2014/main" val="3546666146"/>
                    </a:ext>
                  </a:extLst>
                </a:gridCol>
                <a:gridCol w="355919">
                  <a:extLst>
                    <a:ext uri="{9D8B030D-6E8A-4147-A177-3AD203B41FA5}">
                      <a16:colId xmlns:a16="http://schemas.microsoft.com/office/drawing/2014/main" val="2571189057"/>
                    </a:ext>
                  </a:extLst>
                </a:gridCol>
                <a:gridCol w="355919">
                  <a:extLst>
                    <a:ext uri="{9D8B030D-6E8A-4147-A177-3AD203B41FA5}">
                      <a16:colId xmlns:a16="http://schemas.microsoft.com/office/drawing/2014/main" val="1060110755"/>
                    </a:ext>
                  </a:extLst>
                </a:gridCol>
                <a:gridCol w="355919">
                  <a:extLst>
                    <a:ext uri="{9D8B030D-6E8A-4147-A177-3AD203B41FA5}">
                      <a16:colId xmlns:a16="http://schemas.microsoft.com/office/drawing/2014/main" val="1708192553"/>
                    </a:ext>
                  </a:extLst>
                </a:gridCol>
                <a:gridCol w="355919">
                  <a:extLst>
                    <a:ext uri="{9D8B030D-6E8A-4147-A177-3AD203B41FA5}">
                      <a16:colId xmlns:a16="http://schemas.microsoft.com/office/drawing/2014/main" val="4199119535"/>
                    </a:ext>
                  </a:extLst>
                </a:gridCol>
                <a:gridCol w="355919">
                  <a:extLst>
                    <a:ext uri="{9D8B030D-6E8A-4147-A177-3AD203B41FA5}">
                      <a16:colId xmlns:a16="http://schemas.microsoft.com/office/drawing/2014/main" val="3355281370"/>
                    </a:ext>
                  </a:extLst>
                </a:gridCol>
                <a:gridCol w="355919">
                  <a:extLst>
                    <a:ext uri="{9D8B030D-6E8A-4147-A177-3AD203B41FA5}">
                      <a16:colId xmlns:a16="http://schemas.microsoft.com/office/drawing/2014/main" val="225504790"/>
                    </a:ext>
                  </a:extLst>
                </a:gridCol>
                <a:gridCol w="355919">
                  <a:extLst>
                    <a:ext uri="{9D8B030D-6E8A-4147-A177-3AD203B41FA5}">
                      <a16:colId xmlns:a16="http://schemas.microsoft.com/office/drawing/2014/main" val="3253537923"/>
                    </a:ext>
                  </a:extLst>
                </a:gridCol>
                <a:gridCol w="387140">
                  <a:extLst>
                    <a:ext uri="{9D8B030D-6E8A-4147-A177-3AD203B41FA5}">
                      <a16:colId xmlns:a16="http://schemas.microsoft.com/office/drawing/2014/main" val="3600685175"/>
                    </a:ext>
                  </a:extLst>
                </a:gridCol>
              </a:tblGrid>
              <a:tr h="169238">
                <a:tc>
                  <a:txBody>
                    <a:bodyPr/>
                    <a:lstStyle/>
                    <a:p>
                      <a:pPr algn="ctr" fontAlgn="t"/>
                      <a:r>
                        <a:rPr lang="ru-RU" sz="400" u="none" strike="noStrike">
                          <a:effectLst/>
                        </a:rPr>
                        <a:t>Движения денег (руб)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400" u="none" strike="noStrike">
                          <a:effectLst/>
                        </a:rPr>
                        <a:t>янв.20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400" u="none" strike="noStrike">
                          <a:effectLst/>
                        </a:rPr>
                        <a:t>фев.20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400" u="none" strike="noStrike">
                          <a:effectLst/>
                        </a:rPr>
                        <a:t>мар.20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400" u="none" strike="noStrike">
                          <a:effectLst/>
                        </a:rPr>
                        <a:t>апр.20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400" u="none" strike="noStrike">
                          <a:effectLst/>
                        </a:rPr>
                        <a:t>май.20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400" u="none" strike="noStrike">
                          <a:effectLst/>
                        </a:rPr>
                        <a:t>июн.20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400" u="none" strike="noStrike">
                          <a:effectLst/>
                        </a:rPr>
                        <a:t>июл.20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400" u="none" strike="noStrike">
                          <a:effectLst/>
                        </a:rPr>
                        <a:t>авг.20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400" u="none" strike="noStrike">
                          <a:effectLst/>
                        </a:rPr>
                        <a:t>сен.20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400" u="none" strike="noStrike">
                          <a:effectLst/>
                        </a:rPr>
                        <a:t>окт.20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400" u="none" strike="noStrike">
                          <a:effectLst/>
                        </a:rPr>
                        <a:t>дек.20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400" u="none" strike="noStrike">
                          <a:effectLst/>
                        </a:rPr>
                        <a:t>фев.21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400" u="none" strike="noStrike">
                          <a:effectLst/>
                        </a:rPr>
                        <a:t>апр.21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400" u="none" strike="noStrike">
                          <a:effectLst/>
                        </a:rPr>
                        <a:t>июн.21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400" u="none" strike="noStrike">
                          <a:effectLst/>
                        </a:rPr>
                        <a:t>авг.21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400" u="none" strike="noStrike">
                          <a:effectLst/>
                        </a:rPr>
                        <a:t>Итого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228159039"/>
                  </a:ext>
                </a:extLst>
              </a:tr>
              <a:tr h="194625"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Входящее сальдо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55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1 10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1 65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2 15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2 65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3 54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4 43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5 32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6 21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7 10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5 32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034117490"/>
                  </a:ext>
                </a:extLst>
              </a:tr>
              <a:tr h="194625">
                <a:tc>
                  <a:txBody>
                    <a:bodyPr/>
                    <a:lstStyle/>
                    <a:p>
                      <a:pPr algn="l" fontAlgn="t"/>
                      <a:r>
                        <a:rPr lang="ru-RU" sz="500" u="none" strike="noStrike">
                          <a:effectLst/>
                        </a:rPr>
                        <a:t>Поступления:</a:t>
                      </a:r>
                      <a:endParaRPr lang="ru-RU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500" u="none" strike="noStrike">
                          <a:effectLst/>
                        </a:rPr>
                        <a:t>0</a:t>
                      </a:r>
                      <a:endParaRPr lang="ru-RU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500" u="none" strike="noStrike">
                          <a:effectLst/>
                        </a:rPr>
                        <a:t>0</a:t>
                      </a:r>
                      <a:endParaRPr lang="ru-RU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500" u="none" strike="noStrike">
                          <a:effectLst/>
                        </a:rPr>
                        <a:t>0</a:t>
                      </a:r>
                      <a:endParaRPr lang="ru-RU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500" u="none" strike="noStrike">
                          <a:effectLst/>
                        </a:rPr>
                        <a:t>0</a:t>
                      </a:r>
                      <a:endParaRPr lang="ru-RU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500" u="none" strike="noStrike">
                          <a:effectLst/>
                        </a:rPr>
                        <a:t>0</a:t>
                      </a:r>
                      <a:endParaRPr lang="ru-RU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500" u="none" strike="noStrike">
                          <a:effectLst/>
                        </a:rPr>
                        <a:t>0</a:t>
                      </a:r>
                      <a:endParaRPr lang="ru-RU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500" u="none" strike="noStrike">
                          <a:effectLst/>
                        </a:rPr>
                        <a:t>0</a:t>
                      </a:r>
                      <a:endParaRPr lang="ru-RU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500" u="none" strike="noStrike">
                          <a:effectLst/>
                        </a:rPr>
                        <a:t>0</a:t>
                      </a:r>
                      <a:endParaRPr lang="ru-RU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500" u="none" strike="noStrike">
                          <a:effectLst/>
                        </a:rPr>
                        <a:t>0</a:t>
                      </a:r>
                      <a:endParaRPr lang="ru-RU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500" u="none" strike="noStrike">
                          <a:effectLst/>
                        </a:rPr>
                        <a:t>1 400 000</a:t>
                      </a:r>
                      <a:endParaRPr lang="ru-RU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500" u="none" strike="noStrike">
                          <a:effectLst/>
                        </a:rPr>
                        <a:t>1 400 000</a:t>
                      </a:r>
                      <a:endParaRPr lang="ru-RU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500" u="none" strike="noStrike">
                          <a:effectLst/>
                        </a:rPr>
                        <a:t>1 400 000</a:t>
                      </a:r>
                      <a:endParaRPr lang="ru-RU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500" u="none" strike="noStrike">
                          <a:effectLst/>
                        </a:rPr>
                        <a:t>1 400 000</a:t>
                      </a:r>
                      <a:endParaRPr lang="ru-RU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500" u="none" strike="noStrike">
                          <a:effectLst/>
                        </a:rPr>
                        <a:t>1 400 000</a:t>
                      </a:r>
                      <a:endParaRPr lang="ru-RU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500" u="none" strike="noStrike">
                          <a:effectLst/>
                        </a:rPr>
                        <a:t>1 400 000</a:t>
                      </a:r>
                      <a:endParaRPr lang="ru-RU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500" u="none" strike="noStrike">
                          <a:effectLst/>
                        </a:rPr>
                        <a:t>4 200 000</a:t>
                      </a:r>
                      <a:endParaRPr lang="ru-RU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114836332"/>
                  </a:ext>
                </a:extLst>
              </a:tr>
              <a:tr h="194625"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Продажа подписки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1 40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1 40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1 40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1 40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1 40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1 40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4 20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748993613"/>
                  </a:ext>
                </a:extLst>
              </a:tr>
              <a:tr h="194625"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Продажа рекламы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 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 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 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 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 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 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 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 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 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 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 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 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 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 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 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359004555"/>
                  </a:ext>
                </a:extLst>
              </a:tr>
              <a:tr h="177699">
                <a:tc>
                  <a:txBody>
                    <a:bodyPr/>
                    <a:lstStyle/>
                    <a:p>
                      <a:pPr algn="l" fontAlgn="t"/>
                      <a:r>
                        <a:rPr lang="ru-RU" sz="500" u="none" strike="noStrike">
                          <a:effectLst/>
                        </a:rPr>
                        <a:t>Платежи:</a:t>
                      </a:r>
                      <a:endParaRPr lang="ru-RU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450 000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450 000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450 000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450 000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450 000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450 000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450 000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500 000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500 000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510 000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510 000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510 000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510 000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510 000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510 000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5 680 000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250907642"/>
                  </a:ext>
                </a:extLst>
              </a:tr>
              <a:tr h="169238"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Маркетинг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362468330"/>
                  </a:ext>
                </a:extLst>
              </a:tr>
              <a:tr h="169238"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Разработка ПО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40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40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40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40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40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40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40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40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40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40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40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40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40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40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40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4 80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365131023"/>
                  </a:ext>
                </a:extLst>
              </a:tr>
              <a:tr h="169238"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Реклама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904149285"/>
                  </a:ext>
                </a:extLst>
              </a:tr>
              <a:tr h="169238"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Командировки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5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5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5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5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5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5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5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5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25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285991044"/>
                  </a:ext>
                </a:extLst>
              </a:tr>
              <a:tr h="169238"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Аренда сервера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1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1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1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1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1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1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1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1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1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2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2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2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2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2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2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15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4153742759"/>
                  </a:ext>
                </a:extLst>
              </a:tr>
              <a:tr h="169238"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Прочее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4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4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4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4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4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4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4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4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4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4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4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4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4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4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4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-48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378836062"/>
                  </a:ext>
                </a:extLst>
              </a:tr>
              <a:tr h="177699">
                <a:tc>
                  <a:txBody>
                    <a:bodyPr/>
                    <a:lstStyle/>
                    <a:p>
                      <a:pPr algn="l" fontAlgn="t"/>
                      <a:r>
                        <a:rPr lang="ru-RU" sz="500" u="none" strike="noStrike">
                          <a:effectLst/>
                        </a:rPr>
                        <a:t>Финансирование:</a:t>
                      </a:r>
                      <a:endParaRPr lang="ru-RU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450 000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450 000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450 000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450 000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1 000 000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1 000 000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1 000 000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1 000 000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1 000 000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6 800 000</a:t>
                      </a:r>
                      <a:endParaRPr lang="ru-RU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759917024"/>
                  </a:ext>
                </a:extLst>
              </a:tr>
              <a:tr h="169238"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Собственные средства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45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45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45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45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 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 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 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 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 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 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 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 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 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 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 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1 80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724590899"/>
                  </a:ext>
                </a:extLst>
              </a:tr>
              <a:tr h="177699"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Внешние инвестиции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 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 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 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 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1 00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1 00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1 00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1 00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1 00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 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 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 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 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 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 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5 00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904480602"/>
                  </a:ext>
                </a:extLst>
              </a:tr>
              <a:tr h="143853"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Итого оборот за период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55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55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55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50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50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89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89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89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89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89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89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6 21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930750397"/>
                  </a:ext>
                </a:extLst>
              </a:tr>
              <a:tr h="160776"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>
                          <a:effectLst/>
                        </a:rPr>
                        <a:t>Сальдо на конец периода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55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1 10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1 65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2 15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2 65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3 54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4 43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5 32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6 21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7 10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400" u="none" strike="noStrike">
                          <a:effectLst/>
                        </a:rPr>
                        <a:t>7 990 0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400" u="none" strike="noStrike" dirty="0">
                          <a:effectLst/>
                        </a:rPr>
                        <a:t> </a:t>
                      </a:r>
                      <a:endParaRPr lang="ru-RU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1019539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288328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0741273"/>
              </p:ext>
            </p:extLst>
          </p:nvPr>
        </p:nvGraphicFramePr>
        <p:xfrm>
          <a:off x="199405" y="1497"/>
          <a:ext cx="1495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405" y="1497"/>
                        <a:ext cx="1495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207845" y="220406"/>
            <a:ext cx="5988848" cy="40011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</a:pPr>
            <a:r>
              <a:rPr lang="ru-RU" sz="12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Рынок B2В и частично В2С. Системные интеграторы, Школьники, Родители, Абитуриенты </a:t>
            </a:r>
            <a:endParaRPr lang="en-US" sz="1200" b="1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  <a:p>
            <a:pPr>
              <a:buSzPct val="100000"/>
            </a:pPr>
            <a:r>
              <a:rPr lang="ru-RU" sz="1800" b="1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ГДЕ РЫНОК? КТО ЦЕЛЕВЫЕ ПОТРЕБИТЕЛИ?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8524"/>
          <a:stretch/>
        </p:blipFill>
        <p:spPr>
          <a:xfrm>
            <a:off x="53885" y="1004205"/>
            <a:ext cx="2842731" cy="3143251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580677" y="2195568"/>
            <a:ext cx="1508427" cy="3802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buSzPct val="100000"/>
              <a:buFont typeface="Lora"/>
            </a:pPr>
            <a:r>
              <a:rPr lang="ru-RU" sz="1600" b="1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535 000 000 рублей</a:t>
            </a:r>
          </a:p>
        </p:txBody>
      </p:sp>
      <p:sp>
        <p:nvSpPr>
          <p:cNvPr id="9" name="Rectangle 8"/>
          <p:cNvSpPr/>
          <p:nvPr/>
        </p:nvSpPr>
        <p:spPr>
          <a:xfrm>
            <a:off x="785358" y="2906948"/>
            <a:ext cx="1068841" cy="3802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buSzPct val="100000"/>
              <a:buFont typeface="Lora"/>
            </a:pPr>
            <a:r>
              <a:rPr lang="en-US" sz="1600" b="1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15%</a:t>
            </a:r>
            <a:endParaRPr lang="ru-RU" sz="1600" b="1" dirty="0"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85358" y="3469842"/>
            <a:ext cx="1068841" cy="3802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buSzPct val="100000"/>
              <a:buFont typeface="Lora"/>
            </a:pPr>
            <a:r>
              <a:rPr lang="en-US" sz="1600" b="1" dirty="0">
                <a:solidFill>
                  <a:schemeClr val="bg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1,5%</a:t>
            </a:r>
            <a:endParaRPr lang="ru-RU" sz="1600" b="1" dirty="0">
              <a:solidFill>
                <a:schemeClr val="bg1"/>
              </a:solidFill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300088" y="1282078"/>
            <a:ext cx="1446412" cy="3802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dirty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Достижимый рынок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705793" y="2082972"/>
            <a:ext cx="1663008" cy="3802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dirty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% рынка на 2023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705793" y="2962579"/>
            <a:ext cx="1663008" cy="3802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dirty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% рынка на 2020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600" r="2008"/>
          <a:stretch/>
        </p:blipFill>
        <p:spPr>
          <a:xfrm>
            <a:off x="4100402" y="1020934"/>
            <a:ext cx="2757598" cy="3143251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4483841" y="1093769"/>
            <a:ext cx="2234422" cy="3802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buSzPct val="100000"/>
              <a:buFont typeface="Lora"/>
            </a:pPr>
            <a:r>
              <a:rPr lang="ru-RU" b="1" dirty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Ключевой конкурент</a:t>
            </a:r>
          </a:p>
        </p:txBody>
      </p:sp>
      <p:sp>
        <p:nvSpPr>
          <p:cNvPr id="16" name="Rectangle 15"/>
          <p:cNvSpPr/>
          <p:nvPr/>
        </p:nvSpPr>
        <p:spPr>
          <a:xfrm>
            <a:off x="4238277" y="2575830"/>
            <a:ext cx="2479985" cy="140518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spcAft>
                <a:spcPts val="400"/>
              </a:spcAft>
              <a:buSzPct val="100000"/>
            </a:pPr>
            <a:r>
              <a:rPr lang="en-US" sz="1200" b="1" dirty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Moodle</a:t>
            </a:r>
            <a:r>
              <a:rPr lang="ru-RU" sz="1200" b="1" dirty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, </a:t>
            </a:r>
            <a:r>
              <a:rPr lang="ru-RU" sz="1200" b="1" dirty="0" err="1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Учи.Ру</a:t>
            </a:r>
            <a:r>
              <a:rPr lang="ru-RU" sz="1200" b="1" dirty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, </a:t>
            </a:r>
            <a:r>
              <a:rPr lang="ru-RU" sz="1200" b="1" dirty="0" err="1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Я.Класс</a:t>
            </a:r>
            <a:r>
              <a:rPr lang="ru-RU" sz="1200" b="1" dirty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. Мессенджеры, Социальные сети – подходят только для коммуникаций и дополнительного </a:t>
            </a:r>
            <a:r>
              <a:rPr lang="ru-RU" sz="1200" b="1" dirty="0" err="1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образоавния</a:t>
            </a:r>
            <a:r>
              <a:rPr lang="ru-RU" sz="1200" b="1" dirty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.</a:t>
            </a:r>
            <a:endParaRPr lang="ru-RU" sz="1200" dirty="0">
              <a:solidFill>
                <a:schemeClr val="tx1"/>
              </a:solidFill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2B4CB09-8097-42AE-AB22-14D9774FF091}"/>
              </a:ext>
            </a:extLst>
          </p:cNvPr>
          <p:cNvSpPr txBox="1"/>
          <p:nvPr/>
        </p:nvSpPr>
        <p:spPr>
          <a:xfrm>
            <a:off x="4335307" y="1631290"/>
            <a:ext cx="2239028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«ПЕЛИКАН» </a:t>
            </a:r>
          </a:p>
          <a:p>
            <a:pPr algn="ctr"/>
            <a:r>
              <a:rPr lang="en-US" dirty="0">
                <a:hlinkClick r:id="rId7"/>
              </a:rPr>
              <a:t>http://pelikan.online/</a:t>
            </a:r>
            <a:endParaRPr lang="ru-RU" dirty="0"/>
          </a:p>
          <a:p>
            <a:pPr algn="ctr"/>
            <a:r>
              <a:rPr lang="ru-RU" sz="1200" b="1" dirty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К сожалению, давно достиг предела своего развития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096033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7439774"/>
              </p:ext>
            </p:extLst>
          </p:nvPr>
        </p:nvGraphicFramePr>
        <p:xfrm>
          <a:off x="199405" y="1497"/>
          <a:ext cx="1495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405" y="1497"/>
                        <a:ext cx="1495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207845" y="220406"/>
            <a:ext cx="5988848" cy="40011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</a:pPr>
            <a:r>
              <a:rPr lang="ru-RU" sz="1800" b="1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СЕКРЕТНЫЙ СОУС </a:t>
            </a:r>
          </a:p>
          <a:p>
            <a:pPr>
              <a:buSzPct val="100000"/>
            </a:pPr>
            <a:r>
              <a:rPr lang="ru-RU" sz="12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как избавляете от боли?</a:t>
            </a:r>
          </a:p>
        </p:txBody>
      </p:sp>
      <p:sp>
        <p:nvSpPr>
          <p:cNvPr id="17" name="Shape 301"/>
          <p:cNvSpPr/>
          <p:nvPr/>
        </p:nvSpPr>
        <p:spPr>
          <a:xfrm>
            <a:off x="503115" y="1716266"/>
            <a:ext cx="1685099" cy="1685099"/>
          </a:xfrm>
          <a:prstGeom prst="ellipse">
            <a:avLst/>
          </a:prstGeom>
          <a:noFill/>
          <a:ln w="114300" cap="flat" cmpd="sng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91425" rIns="0" bIns="91425" anchor="ctr" anchorCtr="0">
            <a:noAutofit/>
          </a:bodyPr>
          <a:lstStyle/>
          <a:p>
            <a:pPr lvl="0" algn="ctr" rtl="0">
              <a:spcBef>
                <a:spcPts val="0"/>
              </a:spcBef>
              <a:buNone/>
            </a:pPr>
            <a:endParaRPr lang="en" b="1" dirty="0">
              <a:latin typeface="Calibri Light" panose="020F0302020204030204" pitchFamily="34" charset="0"/>
              <a:ea typeface="Lora"/>
              <a:cs typeface="Lora"/>
              <a:sym typeface="Lora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069552" y="251141"/>
            <a:ext cx="2690477" cy="30060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Мы расширяем возможности клиентов!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2596" y="779410"/>
            <a:ext cx="3513255" cy="619173"/>
          </a:xfrm>
          <a:prstGeom prst="rect">
            <a:avLst/>
          </a:prstGeom>
        </p:spPr>
      </p:pic>
      <p:grpSp>
        <p:nvGrpSpPr>
          <p:cNvPr id="23" name="Shape 578"/>
          <p:cNvGrpSpPr/>
          <p:nvPr/>
        </p:nvGrpSpPr>
        <p:grpSpPr>
          <a:xfrm>
            <a:off x="3074108" y="928707"/>
            <a:ext cx="283373" cy="289313"/>
            <a:chOff x="3951850" y="2985350"/>
            <a:chExt cx="407950" cy="416500"/>
          </a:xfrm>
        </p:grpSpPr>
        <p:sp>
          <p:nvSpPr>
            <p:cNvPr id="24" name="Shape 579"/>
            <p:cNvSpPr/>
            <p:nvPr/>
          </p:nvSpPr>
          <p:spPr>
            <a:xfrm>
              <a:off x="3951850" y="2985350"/>
              <a:ext cx="314800" cy="314825"/>
            </a:xfrm>
            <a:custGeom>
              <a:avLst/>
              <a:gdLst/>
              <a:ahLst/>
              <a:cxnLst/>
              <a:rect l="0" t="0" r="0" b="0"/>
              <a:pathLst>
                <a:path w="12592" h="12593" fill="none" extrusionOk="0">
                  <a:moveTo>
                    <a:pt x="6284" y="1"/>
                  </a:moveTo>
                  <a:lnTo>
                    <a:pt x="6284" y="1"/>
                  </a:lnTo>
                  <a:lnTo>
                    <a:pt x="5967" y="25"/>
                  </a:lnTo>
                  <a:lnTo>
                    <a:pt x="5651" y="49"/>
                  </a:lnTo>
                  <a:lnTo>
                    <a:pt x="5334" y="74"/>
                  </a:lnTo>
                  <a:lnTo>
                    <a:pt x="5017" y="147"/>
                  </a:lnTo>
                  <a:lnTo>
                    <a:pt x="4725" y="220"/>
                  </a:lnTo>
                  <a:lnTo>
                    <a:pt x="4433" y="293"/>
                  </a:lnTo>
                  <a:lnTo>
                    <a:pt x="4141" y="390"/>
                  </a:lnTo>
                  <a:lnTo>
                    <a:pt x="3848" y="512"/>
                  </a:lnTo>
                  <a:lnTo>
                    <a:pt x="3556" y="634"/>
                  </a:lnTo>
                  <a:lnTo>
                    <a:pt x="3288" y="780"/>
                  </a:lnTo>
                  <a:lnTo>
                    <a:pt x="3020" y="926"/>
                  </a:lnTo>
                  <a:lnTo>
                    <a:pt x="2777" y="1072"/>
                  </a:lnTo>
                  <a:lnTo>
                    <a:pt x="2290" y="1437"/>
                  </a:lnTo>
                  <a:lnTo>
                    <a:pt x="1851" y="1852"/>
                  </a:lnTo>
                  <a:lnTo>
                    <a:pt x="1437" y="2290"/>
                  </a:lnTo>
                  <a:lnTo>
                    <a:pt x="1072" y="2777"/>
                  </a:lnTo>
                  <a:lnTo>
                    <a:pt x="901" y="3045"/>
                  </a:lnTo>
                  <a:lnTo>
                    <a:pt x="755" y="3313"/>
                  </a:lnTo>
                  <a:lnTo>
                    <a:pt x="609" y="3581"/>
                  </a:lnTo>
                  <a:lnTo>
                    <a:pt x="487" y="3849"/>
                  </a:lnTo>
                  <a:lnTo>
                    <a:pt x="390" y="4141"/>
                  </a:lnTo>
                  <a:lnTo>
                    <a:pt x="292" y="4433"/>
                  </a:lnTo>
                  <a:lnTo>
                    <a:pt x="195" y="4725"/>
                  </a:lnTo>
                  <a:lnTo>
                    <a:pt x="122" y="5042"/>
                  </a:lnTo>
                  <a:lnTo>
                    <a:pt x="73" y="5334"/>
                  </a:lnTo>
                  <a:lnTo>
                    <a:pt x="25" y="5651"/>
                  </a:lnTo>
                  <a:lnTo>
                    <a:pt x="0" y="5968"/>
                  </a:lnTo>
                  <a:lnTo>
                    <a:pt x="0" y="6308"/>
                  </a:lnTo>
                  <a:lnTo>
                    <a:pt x="0" y="6308"/>
                  </a:lnTo>
                  <a:lnTo>
                    <a:pt x="0" y="6625"/>
                  </a:lnTo>
                  <a:lnTo>
                    <a:pt x="25" y="6942"/>
                  </a:lnTo>
                  <a:lnTo>
                    <a:pt x="73" y="7258"/>
                  </a:lnTo>
                  <a:lnTo>
                    <a:pt x="122" y="7575"/>
                  </a:lnTo>
                  <a:lnTo>
                    <a:pt x="195" y="7867"/>
                  </a:lnTo>
                  <a:lnTo>
                    <a:pt x="292" y="8184"/>
                  </a:lnTo>
                  <a:lnTo>
                    <a:pt x="390" y="8476"/>
                  </a:lnTo>
                  <a:lnTo>
                    <a:pt x="487" y="8744"/>
                  </a:lnTo>
                  <a:lnTo>
                    <a:pt x="609" y="9036"/>
                  </a:lnTo>
                  <a:lnTo>
                    <a:pt x="755" y="9304"/>
                  </a:lnTo>
                  <a:lnTo>
                    <a:pt x="901" y="9572"/>
                  </a:lnTo>
                  <a:lnTo>
                    <a:pt x="1072" y="9816"/>
                  </a:lnTo>
                  <a:lnTo>
                    <a:pt x="1437" y="10303"/>
                  </a:lnTo>
                  <a:lnTo>
                    <a:pt x="1851" y="10741"/>
                  </a:lnTo>
                  <a:lnTo>
                    <a:pt x="2290" y="11155"/>
                  </a:lnTo>
                  <a:lnTo>
                    <a:pt x="2777" y="11520"/>
                  </a:lnTo>
                  <a:lnTo>
                    <a:pt x="3020" y="11691"/>
                  </a:lnTo>
                  <a:lnTo>
                    <a:pt x="3288" y="11837"/>
                  </a:lnTo>
                  <a:lnTo>
                    <a:pt x="3556" y="11983"/>
                  </a:lnTo>
                  <a:lnTo>
                    <a:pt x="3848" y="12105"/>
                  </a:lnTo>
                  <a:lnTo>
                    <a:pt x="4141" y="12202"/>
                  </a:lnTo>
                  <a:lnTo>
                    <a:pt x="4433" y="12300"/>
                  </a:lnTo>
                  <a:lnTo>
                    <a:pt x="4725" y="12397"/>
                  </a:lnTo>
                  <a:lnTo>
                    <a:pt x="5017" y="12470"/>
                  </a:lnTo>
                  <a:lnTo>
                    <a:pt x="5334" y="12519"/>
                  </a:lnTo>
                  <a:lnTo>
                    <a:pt x="5651" y="12568"/>
                  </a:lnTo>
                  <a:lnTo>
                    <a:pt x="5967" y="12592"/>
                  </a:lnTo>
                  <a:lnTo>
                    <a:pt x="6284" y="12592"/>
                  </a:lnTo>
                  <a:lnTo>
                    <a:pt x="6284" y="12592"/>
                  </a:lnTo>
                  <a:lnTo>
                    <a:pt x="6625" y="12592"/>
                  </a:lnTo>
                  <a:lnTo>
                    <a:pt x="6941" y="12568"/>
                  </a:lnTo>
                  <a:lnTo>
                    <a:pt x="7258" y="12519"/>
                  </a:lnTo>
                  <a:lnTo>
                    <a:pt x="7550" y="12470"/>
                  </a:lnTo>
                  <a:lnTo>
                    <a:pt x="7867" y="12397"/>
                  </a:lnTo>
                  <a:lnTo>
                    <a:pt x="8159" y="12300"/>
                  </a:lnTo>
                  <a:lnTo>
                    <a:pt x="8451" y="12202"/>
                  </a:lnTo>
                  <a:lnTo>
                    <a:pt x="8744" y="12105"/>
                  </a:lnTo>
                  <a:lnTo>
                    <a:pt x="9012" y="11983"/>
                  </a:lnTo>
                  <a:lnTo>
                    <a:pt x="9279" y="11837"/>
                  </a:lnTo>
                  <a:lnTo>
                    <a:pt x="9547" y="11691"/>
                  </a:lnTo>
                  <a:lnTo>
                    <a:pt x="9815" y="11520"/>
                  </a:lnTo>
                  <a:lnTo>
                    <a:pt x="10302" y="11155"/>
                  </a:lnTo>
                  <a:lnTo>
                    <a:pt x="10741" y="10741"/>
                  </a:lnTo>
                  <a:lnTo>
                    <a:pt x="11155" y="10303"/>
                  </a:lnTo>
                  <a:lnTo>
                    <a:pt x="11520" y="9816"/>
                  </a:lnTo>
                  <a:lnTo>
                    <a:pt x="11666" y="9572"/>
                  </a:lnTo>
                  <a:lnTo>
                    <a:pt x="11812" y="9304"/>
                  </a:lnTo>
                  <a:lnTo>
                    <a:pt x="11958" y="9036"/>
                  </a:lnTo>
                  <a:lnTo>
                    <a:pt x="12080" y="8744"/>
                  </a:lnTo>
                  <a:lnTo>
                    <a:pt x="12202" y="8476"/>
                  </a:lnTo>
                  <a:lnTo>
                    <a:pt x="12299" y="8184"/>
                  </a:lnTo>
                  <a:lnTo>
                    <a:pt x="12397" y="7867"/>
                  </a:lnTo>
                  <a:lnTo>
                    <a:pt x="12446" y="7575"/>
                  </a:lnTo>
                  <a:lnTo>
                    <a:pt x="12519" y="7258"/>
                  </a:lnTo>
                  <a:lnTo>
                    <a:pt x="12543" y="6942"/>
                  </a:lnTo>
                  <a:lnTo>
                    <a:pt x="12567" y="6625"/>
                  </a:lnTo>
                  <a:lnTo>
                    <a:pt x="12592" y="6308"/>
                  </a:lnTo>
                  <a:lnTo>
                    <a:pt x="12592" y="6308"/>
                  </a:lnTo>
                  <a:lnTo>
                    <a:pt x="12567" y="5968"/>
                  </a:lnTo>
                  <a:lnTo>
                    <a:pt x="12543" y="5651"/>
                  </a:lnTo>
                  <a:lnTo>
                    <a:pt x="12519" y="5334"/>
                  </a:lnTo>
                  <a:lnTo>
                    <a:pt x="12446" y="5042"/>
                  </a:lnTo>
                  <a:lnTo>
                    <a:pt x="12397" y="4725"/>
                  </a:lnTo>
                  <a:lnTo>
                    <a:pt x="12299" y="4433"/>
                  </a:lnTo>
                  <a:lnTo>
                    <a:pt x="12202" y="4141"/>
                  </a:lnTo>
                  <a:lnTo>
                    <a:pt x="12080" y="3849"/>
                  </a:lnTo>
                  <a:lnTo>
                    <a:pt x="11958" y="3581"/>
                  </a:lnTo>
                  <a:lnTo>
                    <a:pt x="11812" y="3313"/>
                  </a:lnTo>
                  <a:lnTo>
                    <a:pt x="11666" y="3045"/>
                  </a:lnTo>
                  <a:lnTo>
                    <a:pt x="11520" y="2777"/>
                  </a:lnTo>
                  <a:lnTo>
                    <a:pt x="11155" y="2290"/>
                  </a:lnTo>
                  <a:lnTo>
                    <a:pt x="10741" y="1852"/>
                  </a:lnTo>
                  <a:lnTo>
                    <a:pt x="10302" y="1437"/>
                  </a:lnTo>
                  <a:lnTo>
                    <a:pt x="9815" y="1072"/>
                  </a:lnTo>
                  <a:lnTo>
                    <a:pt x="9547" y="926"/>
                  </a:lnTo>
                  <a:lnTo>
                    <a:pt x="9279" y="780"/>
                  </a:lnTo>
                  <a:lnTo>
                    <a:pt x="9012" y="634"/>
                  </a:lnTo>
                  <a:lnTo>
                    <a:pt x="8744" y="512"/>
                  </a:lnTo>
                  <a:lnTo>
                    <a:pt x="8451" y="390"/>
                  </a:lnTo>
                  <a:lnTo>
                    <a:pt x="8159" y="293"/>
                  </a:lnTo>
                  <a:lnTo>
                    <a:pt x="7867" y="220"/>
                  </a:lnTo>
                  <a:lnTo>
                    <a:pt x="7550" y="147"/>
                  </a:lnTo>
                  <a:lnTo>
                    <a:pt x="7258" y="74"/>
                  </a:lnTo>
                  <a:lnTo>
                    <a:pt x="6941" y="49"/>
                  </a:lnTo>
                  <a:lnTo>
                    <a:pt x="6625" y="25"/>
                  </a:lnTo>
                  <a:lnTo>
                    <a:pt x="6284" y="1"/>
                  </a:lnTo>
                  <a:lnTo>
                    <a:pt x="6284" y="1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25" name="Shape 580"/>
            <p:cNvSpPr/>
            <p:nvPr/>
          </p:nvSpPr>
          <p:spPr>
            <a:xfrm>
              <a:off x="3988375" y="3021875"/>
              <a:ext cx="241750" cy="241750"/>
            </a:xfrm>
            <a:custGeom>
              <a:avLst/>
              <a:gdLst/>
              <a:ahLst/>
              <a:cxnLst/>
              <a:rect l="0" t="0" r="0" b="0"/>
              <a:pathLst>
                <a:path w="9670" h="9670" fill="none" extrusionOk="0">
                  <a:moveTo>
                    <a:pt x="4823" y="1"/>
                  </a:moveTo>
                  <a:lnTo>
                    <a:pt x="4823" y="1"/>
                  </a:lnTo>
                  <a:lnTo>
                    <a:pt x="4336" y="25"/>
                  </a:lnTo>
                  <a:lnTo>
                    <a:pt x="3849" y="98"/>
                  </a:lnTo>
                  <a:lnTo>
                    <a:pt x="3386" y="220"/>
                  </a:lnTo>
                  <a:lnTo>
                    <a:pt x="2947" y="391"/>
                  </a:lnTo>
                  <a:lnTo>
                    <a:pt x="2533" y="585"/>
                  </a:lnTo>
                  <a:lnTo>
                    <a:pt x="2144" y="829"/>
                  </a:lnTo>
                  <a:lnTo>
                    <a:pt x="1754" y="1121"/>
                  </a:lnTo>
                  <a:lnTo>
                    <a:pt x="1413" y="1438"/>
                  </a:lnTo>
                  <a:lnTo>
                    <a:pt x="1096" y="1779"/>
                  </a:lnTo>
                  <a:lnTo>
                    <a:pt x="829" y="2144"/>
                  </a:lnTo>
                  <a:lnTo>
                    <a:pt x="585" y="2534"/>
                  </a:lnTo>
                  <a:lnTo>
                    <a:pt x="390" y="2972"/>
                  </a:lnTo>
                  <a:lnTo>
                    <a:pt x="220" y="3411"/>
                  </a:lnTo>
                  <a:lnTo>
                    <a:pt x="98" y="3873"/>
                  </a:lnTo>
                  <a:lnTo>
                    <a:pt x="25" y="4336"/>
                  </a:lnTo>
                  <a:lnTo>
                    <a:pt x="1" y="4847"/>
                  </a:lnTo>
                  <a:lnTo>
                    <a:pt x="1" y="4847"/>
                  </a:lnTo>
                  <a:lnTo>
                    <a:pt x="25" y="5335"/>
                  </a:lnTo>
                  <a:lnTo>
                    <a:pt x="98" y="5822"/>
                  </a:lnTo>
                  <a:lnTo>
                    <a:pt x="220" y="6284"/>
                  </a:lnTo>
                  <a:lnTo>
                    <a:pt x="390" y="6723"/>
                  </a:lnTo>
                  <a:lnTo>
                    <a:pt x="585" y="7137"/>
                  </a:lnTo>
                  <a:lnTo>
                    <a:pt x="829" y="7527"/>
                  </a:lnTo>
                  <a:lnTo>
                    <a:pt x="1096" y="7916"/>
                  </a:lnTo>
                  <a:lnTo>
                    <a:pt x="1413" y="8257"/>
                  </a:lnTo>
                  <a:lnTo>
                    <a:pt x="1754" y="8574"/>
                  </a:lnTo>
                  <a:lnTo>
                    <a:pt x="2144" y="8842"/>
                  </a:lnTo>
                  <a:lnTo>
                    <a:pt x="2533" y="9085"/>
                  </a:lnTo>
                  <a:lnTo>
                    <a:pt x="2947" y="9280"/>
                  </a:lnTo>
                  <a:lnTo>
                    <a:pt x="3386" y="9451"/>
                  </a:lnTo>
                  <a:lnTo>
                    <a:pt x="3849" y="9572"/>
                  </a:lnTo>
                  <a:lnTo>
                    <a:pt x="4336" y="9645"/>
                  </a:lnTo>
                  <a:lnTo>
                    <a:pt x="4823" y="9670"/>
                  </a:lnTo>
                  <a:lnTo>
                    <a:pt x="4823" y="9670"/>
                  </a:lnTo>
                  <a:lnTo>
                    <a:pt x="5334" y="9645"/>
                  </a:lnTo>
                  <a:lnTo>
                    <a:pt x="5797" y="9572"/>
                  </a:lnTo>
                  <a:lnTo>
                    <a:pt x="6260" y="9451"/>
                  </a:lnTo>
                  <a:lnTo>
                    <a:pt x="6698" y="9280"/>
                  </a:lnTo>
                  <a:lnTo>
                    <a:pt x="7136" y="9085"/>
                  </a:lnTo>
                  <a:lnTo>
                    <a:pt x="7526" y="8842"/>
                  </a:lnTo>
                  <a:lnTo>
                    <a:pt x="7892" y="8574"/>
                  </a:lnTo>
                  <a:lnTo>
                    <a:pt x="8232" y="8257"/>
                  </a:lnTo>
                  <a:lnTo>
                    <a:pt x="8549" y="7916"/>
                  </a:lnTo>
                  <a:lnTo>
                    <a:pt x="8841" y="7527"/>
                  </a:lnTo>
                  <a:lnTo>
                    <a:pt x="9085" y="7137"/>
                  </a:lnTo>
                  <a:lnTo>
                    <a:pt x="9280" y="6723"/>
                  </a:lnTo>
                  <a:lnTo>
                    <a:pt x="9450" y="6284"/>
                  </a:lnTo>
                  <a:lnTo>
                    <a:pt x="9572" y="5822"/>
                  </a:lnTo>
                  <a:lnTo>
                    <a:pt x="9645" y="5335"/>
                  </a:lnTo>
                  <a:lnTo>
                    <a:pt x="9669" y="4847"/>
                  </a:lnTo>
                  <a:lnTo>
                    <a:pt x="9669" y="4847"/>
                  </a:lnTo>
                  <a:lnTo>
                    <a:pt x="9645" y="4336"/>
                  </a:lnTo>
                  <a:lnTo>
                    <a:pt x="9572" y="3873"/>
                  </a:lnTo>
                  <a:lnTo>
                    <a:pt x="9450" y="3411"/>
                  </a:lnTo>
                  <a:lnTo>
                    <a:pt x="9280" y="2972"/>
                  </a:lnTo>
                  <a:lnTo>
                    <a:pt x="9085" y="2534"/>
                  </a:lnTo>
                  <a:lnTo>
                    <a:pt x="8841" y="2144"/>
                  </a:lnTo>
                  <a:lnTo>
                    <a:pt x="8549" y="1779"/>
                  </a:lnTo>
                  <a:lnTo>
                    <a:pt x="8232" y="1438"/>
                  </a:lnTo>
                  <a:lnTo>
                    <a:pt x="7892" y="1121"/>
                  </a:lnTo>
                  <a:lnTo>
                    <a:pt x="7526" y="829"/>
                  </a:lnTo>
                  <a:lnTo>
                    <a:pt x="7136" y="585"/>
                  </a:lnTo>
                  <a:lnTo>
                    <a:pt x="6698" y="391"/>
                  </a:lnTo>
                  <a:lnTo>
                    <a:pt x="6260" y="220"/>
                  </a:lnTo>
                  <a:lnTo>
                    <a:pt x="5797" y="98"/>
                  </a:lnTo>
                  <a:lnTo>
                    <a:pt x="5334" y="25"/>
                  </a:lnTo>
                  <a:lnTo>
                    <a:pt x="4823" y="1"/>
                  </a:lnTo>
                  <a:lnTo>
                    <a:pt x="4823" y="1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26" name="Shape 581"/>
            <p:cNvSpPr/>
            <p:nvPr/>
          </p:nvSpPr>
          <p:spPr>
            <a:xfrm>
              <a:off x="4024300" y="3058425"/>
              <a:ext cx="84650" cy="84650"/>
            </a:xfrm>
            <a:custGeom>
              <a:avLst/>
              <a:gdLst/>
              <a:ahLst/>
              <a:cxnLst/>
              <a:rect l="0" t="0" r="0" b="0"/>
              <a:pathLst>
                <a:path w="3386" h="3386" fill="none" extrusionOk="0">
                  <a:moveTo>
                    <a:pt x="0" y="3385"/>
                  </a:moveTo>
                  <a:lnTo>
                    <a:pt x="0" y="3385"/>
                  </a:lnTo>
                  <a:lnTo>
                    <a:pt x="25" y="3020"/>
                  </a:lnTo>
                  <a:lnTo>
                    <a:pt x="74" y="2704"/>
                  </a:lnTo>
                  <a:lnTo>
                    <a:pt x="147" y="2363"/>
                  </a:lnTo>
                  <a:lnTo>
                    <a:pt x="268" y="2070"/>
                  </a:lnTo>
                  <a:lnTo>
                    <a:pt x="414" y="1754"/>
                  </a:lnTo>
                  <a:lnTo>
                    <a:pt x="585" y="1486"/>
                  </a:lnTo>
                  <a:lnTo>
                    <a:pt x="780" y="1218"/>
                  </a:lnTo>
                  <a:lnTo>
                    <a:pt x="999" y="974"/>
                  </a:lnTo>
                  <a:lnTo>
                    <a:pt x="1243" y="755"/>
                  </a:lnTo>
                  <a:lnTo>
                    <a:pt x="1510" y="560"/>
                  </a:lnTo>
                  <a:lnTo>
                    <a:pt x="1778" y="390"/>
                  </a:lnTo>
                  <a:lnTo>
                    <a:pt x="2071" y="244"/>
                  </a:lnTo>
                  <a:lnTo>
                    <a:pt x="2387" y="146"/>
                  </a:lnTo>
                  <a:lnTo>
                    <a:pt x="2704" y="49"/>
                  </a:lnTo>
                  <a:lnTo>
                    <a:pt x="3045" y="0"/>
                  </a:lnTo>
                  <a:lnTo>
                    <a:pt x="3386" y="0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27" name="Shape 582"/>
            <p:cNvSpPr/>
            <p:nvPr/>
          </p:nvSpPr>
          <p:spPr>
            <a:xfrm>
              <a:off x="4205750" y="3248375"/>
              <a:ext cx="154050" cy="153475"/>
            </a:xfrm>
            <a:custGeom>
              <a:avLst/>
              <a:gdLst/>
              <a:ahLst/>
              <a:cxnLst/>
              <a:rect l="0" t="0" r="0" b="0"/>
              <a:pathLst>
                <a:path w="6162" h="6139" fill="none" extrusionOk="0">
                  <a:moveTo>
                    <a:pt x="0" y="1024"/>
                  </a:moveTo>
                  <a:lnTo>
                    <a:pt x="4969" y="5992"/>
                  </a:lnTo>
                  <a:lnTo>
                    <a:pt x="4969" y="5992"/>
                  </a:lnTo>
                  <a:lnTo>
                    <a:pt x="5042" y="6041"/>
                  </a:lnTo>
                  <a:lnTo>
                    <a:pt x="5115" y="6090"/>
                  </a:lnTo>
                  <a:lnTo>
                    <a:pt x="5212" y="6114"/>
                  </a:lnTo>
                  <a:lnTo>
                    <a:pt x="5310" y="6138"/>
                  </a:lnTo>
                  <a:lnTo>
                    <a:pt x="5407" y="6114"/>
                  </a:lnTo>
                  <a:lnTo>
                    <a:pt x="5480" y="6090"/>
                  </a:lnTo>
                  <a:lnTo>
                    <a:pt x="5577" y="6041"/>
                  </a:lnTo>
                  <a:lnTo>
                    <a:pt x="5651" y="5992"/>
                  </a:lnTo>
                  <a:lnTo>
                    <a:pt x="6016" y="5627"/>
                  </a:lnTo>
                  <a:lnTo>
                    <a:pt x="6016" y="5627"/>
                  </a:lnTo>
                  <a:lnTo>
                    <a:pt x="6089" y="5554"/>
                  </a:lnTo>
                  <a:lnTo>
                    <a:pt x="6138" y="5456"/>
                  </a:lnTo>
                  <a:lnTo>
                    <a:pt x="6162" y="5359"/>
                  </a:lnTo>
                  <a:lnTo>
                    <a:pt x="6162" y="5286"/>
                  </a:lnTo>
                  <a:lnTo>
                    <a:pt x="6162" y="5188"/>
                  </a:lnTo>
                  <a:lnTo>
                    <a:pt x="6138" y="5091"/>
                  </a:lnTo>
                  <a:lnTo>
                    <a:pt x="6089" y="5018"/>
                  </a:lnTo>
                  <a:lnTo>
                    <a:pt x="6016" y="4921"/>
                  </a:lnTo>
                  <a:lnTo>
                    <a:pt x="1072" y="1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</p:grpSp>
      <p:sp>
        <p:nvSpPr>
          <p:cNvPr id="58" name="Rectangle 57"/>
          <p:cNvSpPr/>
          <p:nvPr/>
        </p:nvSpPr>
        <p:spPr>
          <a:xfrm>
            <a:off x="3469143" y="937101"/>
            <a:ext cx="2891907" cy="30060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Решаем сразу несколько проблем как с законом, так и с расширением предложения</a:t>
            </a:r>
          </a:p>
        </p:txBody>
      </p:sp>
      <p:pic>
        <p:nvPicPr>
          <p:cNvPr id="59" name="Picture 5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7544" y="1383949"/>
            <a:ext cx="3513255" cy="619173"/>
          </a:xfrm>
          <a:prstGeom prst="rect">
            <a:avLst/>
          </a:prstGeom>
        </p:spPr>
      </p:pic>
      <p:sp>
        <p:nvSpPr>
          <p:cNvPr id="65" name="Rectangle 64"/>
          <p:cNvSpPr/>
          <p:nvPr/>
        </p:nvSpPr>
        <p:spPr>
          <a:xfrm>
            <a:off x="3485595" y="1529598"/>
            <a:ext cx="2800905" cy="30060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Помогаем людям учиться безотрывно</a:t>
            </a:r>
          </a:p>
        </p:txBody>
      </p:sp>
      <p:pic>
        <p:nvPicPr>
          <p:cNvPr id="66" name="Picture 6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7544" y="1822559"/>
            <a:ext cx="3513255" cy="790963"/>
          </a:xfrm>
          <a:prstGeom prst="rect">
            <a:avLst/>
          </a:prstGeom>
        </p:spPr>
      </p:pic>
      <p:sp>
        <p:nvSpPr>
          <p:cNvPr id="72" name="Rectangle 71"/>
          <p:cNvSpPr/>
          <p:nvPr/>
        </p:nvSpPr>
        <p:spPr>
          <a:xfrm>
            <a:off x="3429000" y="1999937"/>
            <a:ext cx="2893279" cy="47408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Гибкое </a:t>
            </a:r>
            <a:r>
              <a:rPr lang="en-US" sz="11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SPA 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приложение, позволяющее адаптировать дизайн и функционал под заказчика</a:t>
            </a:r>
          </a:p>
        </p:txBody>
      </p:sp>
      <p:pic>
        <p:nvPicPr>
          <p:cNvPr id="73" name="Picture 7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7545" y="2440607"/>
            <a:ext cx="3513255" cy="960758"/>
          </a:xfrm>
          <a:prstGeom prst="rect">
            <a:avLst/>
          </a:prstGeom>
        </p:spPr>
      </p:pic>
      <p:sp>
        <p:nvSpPr>
          <p:cNvPr id="79" name="Rectangle 78"/>
          <p:cNvSpPr/>
          <p:nvPr/>
        </p:nvSpPr>
        <p:spPr>
          <a:xfrm>
            <a:off x="3485596" y="2769448"/>
            <a:ext cx="2711097" cy="30060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Т.к. </a:t>
            </a:r>
            <a:r>
              <a:rPr lang="ru-RU" sz="1100" dirty="0" err="1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бекенд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 остаётся на нашей стороне, то это ещё и низкая ресурсоёмкость со стороны заказчика</a:t>
            </a:r>
          </a:p>
        </p:txBody>
      </p:sp>
      <p:pic>
        <p:nvPicPr>
          <p:cNvPr id="80" name="Picture 7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9869" y="3295200"/>
            <a:ext cx="3513255" cy="619173"/>
          </a:xfrm>
          <a:prstGeom prst="rect">
            <a:avLst/>
          </a:prstGeom>
        </p:spPr>
      </p:pic>
      <p:sp>
        <p:nvSpPr>
          <p:cNvPr id="86" name="Rectangle 85"/>
          <p:cNvSpPr/>
          <p:nvPr/>
        </p:nvSpPr>
        <p:spPr>
          <a:xfrm>
            <a:off x="3485594" y="3453469"/>
            <a:ext cx="2593411" cy="30060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Кластерная система</a:t>
            </a:r>
          </a:p>
        </p:txBody>
      </p:sp>
      <p:pic>
        <p:nvPicPr>
          <p:cNvPr id="93" name="Picture 9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5580" y="3816776"/>
            <a:ext cx="3513255" cy="619173"/>
          </a:xfrm>
          <a:prstGeom prst="rect">
            <a:avLst/>
          </a:prstGeom>
        </p:spPr>
      </p:pic>
      <p:sp>
        <p:nvSpPr>
          <p:cNvPr id="95" name="Rectangle 94"/>
          <p:cNvSpPr/>
          <p:nvPr/>
        </p:nvSpPr>
        <p:spPr>
          <a:xfrm>
            <a:off x="3485595" y="3990247"/>
            <a:ext cx="2593411" cy="30060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Кроссплатформенность</a:t>
            </a:r>
          </a:p>
        </p:txBody>
      </p:sp>
      <p:grpSp>
        <p:nvGrpSpPr>
          <p:cNvPr id="28" name="Shape 575"/>
          <p:cNvGrpSpPr/>
          <p:nvPr/>
        </p:nvGrpSpPr>
        <p:grpSpPr>
          <a:xfrm>
            <a:off x="3036033" y="1534813"/>
            <a:ext cx="359522" cy="267310"/>
            <a:chOff x="5247525" y="3007275"/>
            <a:chExt cx="517575" cy="384825"/>
          </a:xfrm>
        </p:grpSpPr>
        <p:sp>
          <p:nvSpPr>
            <p:cNvPr id="29" name="Shape 576"/>
            <p:cNvSpPr/>
            <p:nvPr/>
          </p:nvSpPr>
          <p:spPr>
            <a:xfrm>
              <a:off x="5247525" y="3007275"/>
              <a:ext cx="348900" cy="348900"/>
            </a:xfrm>
            <a:custGeom>
              <a:avLst/>
              <a:gdLst/>
              <a:ahLst/>
              <a:cxnLst/>
              <a:rect l="0" t="0" r="0" b="0"/>
              <a:pathLst>
                <a:path w="13956" h="13956" fill="none" extrusionOk="0">
                  <a:moveTo>
                    <a:pt x="13323" y="5772"/>
                  </a:moveTo>
                  <a:lnTo>
                    <a:pt x="11861" y="5626"/>
                  </a:lnTo>
                  <a:lnTo>
                    <a:pt x="11861" y="5626"/>
                  </a:lnTo>
                  <a:lnTo>
                    <a:pt x="11788" y="5334"/>
                  </a:lnTo>
                  <a:lnTo>
                    <a:pt x="11667" y="5042"/>
                  </a:lnTo>
                  <a:lnTo>
                    <a:pt x="11545" y="4750"/>
                  </a:lnTo>
                  <a:lnTo>
                    <a:pt x="11399" y="4482"/>
                  </a:lnTo>
                  <a:lnTo>
                    <a:pt x="12300" y="3337"/>
                  </a:lnTo>
                  <a:lnTo>
                    <a:pt x="12300" y="3337"/>
                  </a:lnTo>
                  <a:lnTo>
                    <a:pt x="12373" y="3240"/>
                  </a:lnTo>
                  <a:lnTo>
                    <a:pt x="12422" y="3118"/>
                  </a:lnTo>
                  <a:lnTo>
                    <a:pt x="12446" y="2996"/>
                  </a:lnTo>
                  <a:lnTo>
                    <a:pt x="12446" y="2850"/>
                  </a:lnTo>
                  <a:lnTo>
                    <a:pt x="12422" y="2728"/>
                  </a:lnTo>
                  <a:lnTo>
                    <a:pt x="12397" y="2606"/>
                  </a:lnTo>
                  <a:lnTo>
                    <a:pt x="12324" y="2485"/>
                  </a:lnTo>
                  <a:lnTo>
                    <a:pt x="12251" y="2387"/>
                  </a:lnTo>
                  <a:lnTo>
                    <a:pt x="11569" y="1705"/>
                  </a:lnTo>
                  <a:lnTo>
                    <a:pt x="11569" y="1705"/>
                  </a:lnTo>
                  <a:lnTo>
                    <a:pt x="11472" y="1632"/>
                  </a:lnTo>
                  <a:lnTo>
                    <a:pt x="11350" y="1559"/>
                  </a:lnTo>
                  <a:lnTo>
                    <a:pt x="11228" y="1510"/>
                  </a:lnTo>
                  <a:lnTo>
                    <a:pt x="11106" y="1510"/>
                  </a:lnTo>
                  <a:lnTo>
                    <a:pt x="10960" y="1510"/>
                  </a:lnTo>
                  <a:lnTo>
                    <a:pt x="10838" y="1535"/>
                  </a:lnTo>
                  <a:lnTo>
                    <a:pt x="10717" y="1583"/>
                  </a:lnTo>
                  <a:lnTo>
                    <a:pt x="10619" y="1656"/>
                  </a:lnTo>
                  <a:lnTo>
                    <a:pt x="9475" y="2558"/>
                  </a:lnTo>
                  <a:lnTo>
                    <a:pt x="9475" y="2558"/>
                  </a:lnTo>
                  <a:lnTo>
                    <a:pt x="9207" y="2411"/>
                  </a:lnTo>
                  <a:lnTo>
                    <a:pt x="8914" y="2290"/>
                  </a:lnTo>
                  <a:lnTo>
                    <a:pt x="8622" y="2168"/>
                  </a:lnTo>
                  <a:lnTo>
                    <a:pt x="8330" y="2070"/>
                  </a:lnTo>
                  <a:lnTo>
                    <a:pt x="8159" y="634"/>
                  </a:lnTo>
                  <a:lnTo>
                    <a:pt x="8159" y="634"/>
                  </a:lnTo>
                  <a:lnTo>
                    <a:pt x="8135" y="512"/>
                  </a:lnTo>
                  <a:lnTo>
                    <a:pt x="8086" y="390"/>
                  </a:lnTo>
                  <a:lnTo>
                    <a:pt x="8013" y="293"/>
                  </a:lnTo>
                  <a:lnTo>
                    <a:pt x="7940" y="195"/>
                  </a:lnTo>
                  <a:lnTo>
                    <a:pt x="7818" y="122"/>
                  </a:lnTo>
                  <a:lnTo>
                    <a:pt x="7721" y="49"/>
                  </a:lnTo>
                  <a:lnTo>
                    <a:pt x="7575" y="25"/>
                  </a:lnTo>
                  <a:lnTo>
                    <a:pt x="7453" y="0"/>
                  </a:lnTo>
                  <a:lnTo>
                    <a:pt x="6479" y="0"/>
                  </a:lnTo>
                  <a:lnTo>
                    <a:pt x="6479" y="0"/>
                  </a:lnTo>
                  <a:lnTo>
                    <a:pt x="6357" y="25"/>
                  </a:lnTo>
                  <a:lnTo>
                    <a:pt x="6235" y="49"/>
                  </a:lnTo>
                  <a:lnTo>
                    <a:pt x="6114" y="122"/>
                  </a:lnTo>
                  <a:lnTo>
                    <a:pt x="6016" y="195"/>
                  </a:lnTo>
                  <a:lnTo>
                    <a:pt x="5919" y="293"/>
                  </a:lnTo>
                  <a:lnTo>
                    <a:pt x="5846" y="390"/>
                  </a:lnTo>
                  <a:lnTo>
                    <a:pt x="5797" y="512"/>
                  </a:lnTo>
                  <a:lnTo>
                    <a:pt x="5773" y="634"/>
                  </a:lnTo>
                  <a:lnTo>
                    <a:pt x="5602" y="2070"/>
                  </a:lnTo>
                  <a:lnTo>
                    <a:pt x="5602" y="2070"/>
                  </a:lnTo>
                  <a:lnTo>
                    <a:pt x="5310" y="2168"/>
                  </a:lnTo>
                  <a:lnTo>
                    <a:pt x="5018" y="2290"/>
                  </a:lnTo>
                  <a:lnTo>
                    <a:pt x="4750" y="2411"/>
                  </a:lnTo>
                  <a:lnTo>
                    <a:pt x="4482" y="2558"/>
                  </a:lnTo>
                  <a:lnTo>
                    <a:pt x="3337" y="1656"/>
                  </a:lnTo>
                  <a:lnTo>
                    <a:pt x="3337" y="1656"/>
                  </a:lnTo>
                  <a:lnTo>
                    <a:pt x="3215" y="1583"/>
                  </a:lnTo>
                  <a:lnTo>
                    <a:pt x="3094" y="1535"/>
                  </a:lnTo>
                  <a:lnTo>
                    <a:pt x="2972" y="1510"/>
                  </a:lnTo>
                  <a:lnTo>
                    <a:pt x="2850" y="1510"/>
                  </a:lnTo>
                  <a:lnTo>
                    <a:pt x="2728" y="1510"/>
                  </a:lnTo>
                  <a:lnTo>
                    <a:pt x="2582" y="1559"/>
                  </a:lnTo>
                  <a:lnTo>
                    <a:pt x="2485" y="1632"/>
                  </a:lnTo>
                  <a:lnTo>
                    <a:pt x="2387" y="1705"/>
                  </a:lnTo>
                  <a:lnTo>
                    <a:pt x="1705" y="2387"/>
                  </a:lnTo>
                  <a:lnTo>
                    <a:pt x="1705" y="2387"/>
                  </a:lnTo>
                  <a:lnTo>
                    <a:pt x="1608" y="2485"/>
                  </a:lnTo>
                  <a:lnTo>
                    <a:pt x="1559" y="2606"/>
                  </a:lnTo>
                  <a:lnTo>
                    <a:pt x="1511" y="2728"/>
                  </a:lnTo>
                  <a:lnTo>
                    <a:pt x="1486" y="2850"/>
                  </a:lnTo>
                  <a:lnTo>
                    <a:pt x="1486" y="2996"/>
                  </a:lnTo>
                  <a:lnTo>
                    <a:pt x="1511" y="3118"/>
                  </a:lnTo>
                  <a:lnTo>
                    <a:pt x="1559" y="3240"/>
                  </a:lnTo>
                  <a:lnTo>
                    <a:pt x="1632" y="3337"/>
                  </a:lnTo>
                  <a:lnTo>
                    <a:pt x="2533" y="4482"/>
                  </a:lnTo>
                  <a:lnTo>
                    <a:pt x="2533" y="4482"/>
                  </a:lnTo>
                  <a:lnTo>
                    <a:pt x="2387" y="4750"/>
                  </a:lnTo>
                  <a:lnTo>
                    <a:pt x="2266" y="5042"/>
                  </a:lnTo>
                  <a:lnTo>
                    <a:pt x="2168" y="5334"/>
                  </a:lnTo>
                  <a:lnTo>
                    <a:pt x="2071" y="5626"/>
                  </a:lnTo>
                  <a:lnTo>
                    <a:pt x="634" y="5772"/>
                  </a:lnTo>
                  <a:lnTo>
                    <a:pt x="634" y="5772"/>
                  </a:lnTo>
                  <a:lnTo>
                    <a:pt x="512" y="5821"/>
                  </a:lnTo>
                  <a:lnTo>
                    <a:pt x="390" y="5870"/>
                  </a:lnTo>
                  <a:lnTo>
                    <a:pt x="268" y="5943"/>
                  </a:lnTo>
                  <a:lnTo>
                    <a:pt x="171" y="6016"/>
                  </a:lnTo>
                  <a:lnTo>
                    <a:pt x="98" y="6138"/>
                  </a:lnTo>
                  <a:lnTo>
                    <a:pt x="49" y="6235"/>
                  </a:lnTo>
                  <a:lnTo>
                    <a:pt x="1" y="6381"/>
                  </a:lnTo>
                  <a:lnTo>
                    <a:pt x="1" y="6503"/>
                  </a:lnTo>
                  <a:lnTo>
                    <a:pt x="1" y="7453"/>
                  </a:lnTo>
                  <a:lnTo>
                    <a:pt x="1" y="7453"/>
                  </a:lnTo>
                  <a:lnTo>
                    <a:pt x="1" y="7599"/>
                  </a:lnTo>
                  <a:lnTo>
                    <a:pt x="49" y="7721"/>
                  </a:lnTo>
                  <a:lnTo>
                    <a:pt x="98" y="7843"/>
                  </a:lnTo>
                  <a:lnTo>
                    <a:pt x="171" y="7940"/>
                  </a:lnTo>
                  <a:lnTo>
                    <a:pt x="268" y="8037"/>
                  </a:lnTo>
                  <a:lnTo>
                    <a:pt x="390" y="8111"/>
                  </a:lnTo>
                  <a:lnTo>
                    <a:pt x="512" y="8159"/>
                  </a:lnTo>
                  <a:lnTo>
                    <a:pt x="634" y="8184"/>
                  </a:lnTo>
                  <a:lnTo>
                    <a:pt x="2071" y="8354"/>
                  </a:lnTo>
                  <a:lnTo>
                    <a:pt x="2071" y="8354"/>
                  </a:lnTo>
                  <a:lnTo>
                    <a:pt x="2168" y="8646"/>
                  </a:lnTo>
                  <a:lnTo>
                    <a:pt x="2266" y="8914"/>
                  </a:lnTo>
                  <a:lnTo>
                    <a:pt x="2387" y="9206"/>
                  </a:lnTo>
                  <a:lnTo>
                    <a:pt x="2533" y="9474"/>
                  </a:lnTo>
                  <a:lnTo>
                    <a:pt x="1632" y="10619"/>
                  </a:lnTo>
                  <a:lnTo>
                    <a:pt x="1632" y="10619"/>
                  </a:lnTo>
                  <a:lnTo>
                    <a:pt x="1559" y="10741"/>
                  </a:lnTo>
                  <a:lnTo>
                    <a:pt x="1511" y="10863"/>
                  </a:lnTo>
                  <a:lnTo>
                    <a:pt x="1486" y="10984"/>
                  </a:lnTo>
                  <a:lnTo>
                    <a:pt x="1486" y="11106"/>
                  </a:lnTo>
                  <a:lnTo>
                    <a:pt x="1511" y="11228"/>
                  </a:lnTo>
                  <a:lnTo>
                    <a:pt x="1559" y="11350"/>
                  </a:lnTo>
                  <a:lnTo>
                    <a:pt x="1608" y="11472"/>
                  </a:lnTo>
                  <a:lnTo>
                    <a:pt x="1705" y="11569"/>
                  </a:lnTo>
                  <a:lnTo>
                    <a:pt x="2387" y="12251"/>
                  </a:lnTo>
                  <a:lnTo>
                    <a:pt x="2387" y="12251"/>
                  </a:lnTo>
                  <a:lnTo>
                    <a:pt x="2485" y="12348"/>
                  </a:lnTo>
                  <a:lnTo>
                    <a:pt x="2582" y="12397"/>
                  </a:lnTo>
                  <a:lnTo>
                    <a:pt x="2728" y="12446"/>
                  </a:lnTo>
                  <a:lnTo>
                    <a:pt x="2850" y="12470"/>
                  </a:lnTo>
                  <a:lnTo>
                    <a:pt x="2972" y="12470"/>
                  </a:lnTo>
                  <a:lnTo>
                    <a:pt x="3094" y="12421"/>
                  </a:lnTo>
                  <a:lnTo>
                    <a:pt x="3215" y="12373"/>
                  </a:lnTo>
                  <a:lnTo>
                    <a:pt x="3337" y="12324"/>
                  </a:lnTo>
                  <a:lnTo>
                    <a:pt x="4482" y="11423"/>
                  </a:lnTo>
                  <a:lnTo>
                    <a:pt x="4482" y="11423"/>
                  </a:lnTo>
                  <a:lnTo>
                    <a:pt x="4750" y="11545"/>
                  </a:lnTo>
                  <a:lnTo>
                    <a:pt x="5018" y="11691"/>
                  </a:lnTo>
                  <a:lnTo>
                    <a:pt x="5310" y="11788"/>
                  </a:lnTo>
                  <a:lnTo>
                    <a:pt x="5602" y="11886"/>
                  </a:lnTo>
                  <a:lnTo>
                    <a:pt x="5773" y="13322"/>
                  </a:lnTo>
                  <a:lnTo>
                    <a:pt x="5773" y="13322"/>
                  </a:lnTo>
                  <a:lnTo>
                    <a:pt x="5797" y="13444"/>
                  </a:lnTo>
                  <a:lnTo>
                    <a:pt x="5846" y="13566"/>
                  </a:lnTo>
                  <a:lnTo>
                    <a:pt x="5919" y="13688"/>
                  </a:lnTo>
                  <a:lnTo>
                    <a:pt x="6016" y="13785"/>
                  </a:lnTo>
                  <a:lnTo>
                    <a:pt x="6114" y="13858"/>
                  </a:lnTo>
                  <a:lnTo>
                    <a:pt x="6235" y="13907"/>
                  </a:lnTo>
                  <a:lnTo>
                    <a:pt x="6357" y="13956"/>
                  </a:lnTo>
                  <a:lnTo>
                    <a:pt x="6479" y="13956"/>
                  </a:lnTo>
                  <a:lnTo>
                    <a:pt x="7453" y="13956"/>
                  </a:lnTo>
                  <a:lnTo>
                    <a:pt x="7453" y="13956"/>
                  </a:lnTo>
                  <a:lnTo>
                    <a:pt x="7575" y="13956"/>
                  </a:lnTo>
                  <a:lnTo>
                    <a:pt x="7721" y="13907"/>
                  </a:lnTo>
                  <a:lnTo>
                    <a:pt x="7818" y="13858"/>
                  </a:lnTo>
                  <a:lnTo>
                    <a:pt x="7940" y="13785"/>
                  </a:lnTo>
                  <a:lnTo>
                    <a:pt x="8013" y="13688"/>
                  </a:lnTo>
                  <a:lnTo>
                    <a:pt x="8086" y="13566"/>
                  </a:lnTo>
                  <a:lnTo>
                    <a:pt x="8135" y="13444"/>
                  </a:lnTo>
                  <a:lnTo>
                    <a:pt x="8159" y="13322"/>
                  </a:lnTo>
                  <a:lnTo>
                    <a:pt x="8330" y="11886"/>
                  </a:lnTo>
                  <a:lnTo>
                    <a:pt x="8330" y="11886"/>
                  </a:lnTo>
                  <a:lnTo>
                    <a:pt x="8622" y="11788"/>
                  </a:lnTo>
                  <a:lnTo>
                    <a:pt x="8914" y="11691"/>
                  </a:lnTo>
                  <a:lnTo>
                    <a:pt x="9207" y="11545"/>
                  </a:lnTo>
                  <a:lnTo>
                    <a:pt x="9475" y="11423"/>
                  </a:lnTo>
                  <a:lnTo>
                    <a:pt x="10619" y="12324"/>
                  </a:lnTo>
                  <a:lnTo>
                    <a:pt x="10619" y="12324"/>
                  </a:lnTo>
                  <a:lnTo>
                    <a:pt x="10717" y="12373"/>
                  </a:lnTo>
                  <a:lnTo>
                    <a:pt x="10838" y="12421"/>
                  </a:lnTo>
                  <a:lnTo>
                    <a:pt x="10960" y="12470"/>
                  </a:lnTo>
                  <a:lnTo>
                    <a:pt x="11106" y="12470"/>
                  </a:lnTo>
                  <a:lnTo>
                    <a:pt x="11228" y="12446"/>
                  </a:lnTo>
                  <a:lnTo>
                    <a:pt x="11350" y="12397"/>
                  </a:lnTo>
                  <a:lnTo>
                    <a:pt x="11472" y="12348"/>
                  </a:lnTo>
                  <a:lnTo>
                    <a:pt x="11569" y="12251"/>
                  </a:lnTo>
                  <a:lnTo>
                    <a:pt x="12251" y="11569"/>
                  </a:lnTo>
                  <a:lnTo>
                    <a:pt x="12251" y="11569"/>
                  </a:lnTo>
                  <a:lnTo>
                    <a:pt x="12324" y="11472"/>
                  </a:lnTo>
                  <a:lnTo>
                    <a:pt x="12397" y="11350"/>
                  </a:lnTo>
                  <a:lnTo>
                    <a:pt x="12422" y="11228"/>
                  </a:lnTo>
                  <a:lnTo>
                    <a:pt x="12446" y="11106"/>
                  </a:lnTo>
                  <a:lnTo>
                    <a:pt x="12446" y="10984"/>
                  </a:lnTo>
                  <a:lnTo>
                    <a:pt x="12422" y="10863"/>
                  </a:lnTo>
                  <a:lnTo>
                    <a:pt x="12373" y="10741"/>
                  </a:lnTo>
                  <a:lnTo>
                    <a:pt x="12300" y="10619"/>
                  </a:lnTo>
                  <a:lnTo>
                    <a:pt x="11399" y="9474"/>
                  </a:lnTo>
                  <a:lnTo>
                    <a:pt x="11399" y="9474"/>
                  </a:lnTo>
                  <a:lnTo>
                    <a:pt x="11545" y="9206"/>
                  </a:lnTo>
                  <a:lnTo>
                    <a:pt x="11667" y="8914"/>
                  </a:lnTo>
                  <a:lnTo>
                    <a:pt x="11788" y="8646"/>
                  </a:lnTo>
                  <a:lnTo>
                    <a:pt x="11861" y="8354"/>
                  </a:lnTo>
                  <a:lnTo>
                    <a:pt x="13323" y="8184"/>
                  </a:lnTo>
                  <a:lnTo>
                    <a:pt x="13323" y="8184"/>
                  </a:lnTo>
                  <a:lnTo>
                    <a:pt x="13444" y="8159"/>
                  </a:lnTo>
                  <a:lnTo>
                    <a:pt x="13566" y="8111"/>
                  </a:lnTo>
                  <a:lnTo>
                    <a:pt x="13664" y="8037"/>
                  </a:lnTo>
                  <a:lnTo>
                    <a:pt x="13761" y="7940"/>
                  </a:lnTo>
                  <a:lnTo>
                    <a:pt x="13834" y="7843"/>
                  </a:lnTo>
                  <a:lnTo>
                    <a:pt x="13907" y="7721"/>
                  </a:lnTo>
                  <a:lnTo>
                    <a:pt x="13932" y="7599"/>
                  </a:lnTo>
                  <a:lnTo>
                    <a:pt x="13956" y="7453"/>
                  </a:lnTo>
                  <a:lnTo>
                    <a:pt x="13956" y="6503"/>
                  </a:lnTo>
                  <a:lnTo>
                    <a:pt x="13956" y="6503"/>
                  </a:lnTo>
                  <a:lnTo>
                    <a:pt x="13932" y="6381"/>
                  </a:lnTo>
                  <a:lnTo>
                    <a:pt x="13907" y="6235"/>
                  </a:lnTo>
                  <a:lnTo>
                    <a:pt x="13834" y="6138"/>
                  </a:lnTo>
                  <a:lnTo>
                    <a:pt x="13761" y="6016"/>
                  </a:lnTo>
                  <a:lnTo>
                    <a:pt x="13664" y="5943"/>
                  </a:lnTo>
                  <a:lnTo>
                    <a:pt x="13566" y="5870"/>
                  </a:lnTo>
                  <a:lnTo>
                    <a:pt x="13444" y="5821"/>
                  </a:lnTo>
                  <a:lnTo>
                    <a:pt x="13323" y="5772"/>
                  </a:lnTo>
                  <a:lnTo>
                    <a:pt x="13323" y="5772"/>
                  </a:lnTo>
                  <a:close/>
                  <a:moveTo>
                    <a:pt x="8573" y="8598"/>
                  </a:moveTo>
                  <a:lnTo>
                    <a:pt x="8573" y="8598"/>
                  </a:lnTo>
                  <a:lnTo>
                    <a:pt x="8403" y="8744"/>
                  </a:lnTo>
                  <a:lnTo>
                    <a:pt x="8232" y="8890"/>
                  </a:lnTo>
                  <a:lnTo>
                    <a:pt x="8038" y="8987"/>
                  </a:lnTo>
                  <a:lnTo>
                    <a:pt x="7818" y="9085"/>
                  </a:lnTo>
                  <a:lnTo>
                    <a:pt x="7624" y="9158"/>
                  </a:lnTo>
                  <a:lnTo>
                    <a:pt x="7404" y="9206"/>
                  </a:lnTo>
                  <a:lnTo>
                    <a:pt x="7185" y="9231"/>
                  </a:lnTo>
                  <a:lnTo>
                    <a:pt x="6966" y="9255"/>
                  </a:lnTo>
                  <a:lnTo>
                    <a:pt x="6747" y="9231"/>
                  </a:lnTo>
                  <a:lnTo>
                    <a:pt x="6528" y="9206"/>
                  </a:lnTo>
                  <a:lnTo>
                    <a:pt x="6333" y="9158"/>
                  </a:lnTo>
                  <a:lnTo>
                    <a:pt x="6114" y="9085"/>
                  </a:lnTo>
                  <a:lnTo>
                    <a:pt x="5919" y="8987"/>
                  </a:lnTo>
                  <a:lnTo>
                    <a:pt x="5724" y="8890"/>
                  </a:lnTo>
                  <a:lnTo>
                    <a:pt x="5529" y="8744"/>
                  </a:lnTo>
                  <a:lnTo>
                    <a:pt x="5359" y="8598"/>
                  </a:lnTo>
                  <a:lnTo>
                    <a:pt x="5359" y="8598"/>
                  </a:lnTo>
                  <a:lnTo>
                    <a:pt x="5212" y="8427"/>
                  </a:lnTo>
                  <a:lnTo>
                    <a:pt x="5066" y="8232"/>
                  </a:lnTo>
                  <a:lnTo>
                    <a:pt x="4969" y="8037"/>
                  </a:lnTo>
                  <a:lnTo>
                    <a:pt x="4871" y="7843"/>
                  </a:lnTo>
                  <a:lnTo>
                    <a:pt x="4798" y="7623"/>
                  </a:lnTo>
                  <a:lnTo>
                    <a:pt x="4750" y="7404"/>
                  </a:lnTo>
                  <a:lnTo>
                    <a:pt x="4701" y="7209"/>
                  </a:lnTo>
                  <a:lnTo>
                    <a:pt x="4701" y="6990"/>
                  </a:lnTo>
                  <a:lnTo>
                    <a:pt x="4701" y="6771"/>
                  </a:lnTo>
                  <a:lnTo>
                    <a:pt x="4750" y="6552"/>
                  </a:lnTo>
                  <a:lnTo>
                    <a:pt x="4798" y="6333"/>
                  </a:lnTo>
                  <a:lnTo>
                    <a:pt x="4871" y="6138"/>
                  </a:lnTo>
                  <a:lnTo>
                    <a:pt x="4969" y="5919"/>
                  </a:lnTo>
                  <a:lnTo>
                    <a:pt x="5066" y="5724"/>
                  </a:lnTo>
                  <a:lnTo>
                    <a:pt x="5212" y="5553"/>
                  </a:lnTo>
                  <a:lnTo>
                    <a:pt x="5359" y="5383"/>
                  </a:lnTo>
                  <a:lnTo>
                    <a:pt x="5359" y="5383"/>
                  </a:lnTo>
                  <a:lnTo>
                    <a:pt x="5529" y="5212"/>
                  </a:lnTo>
                  <a:lnTo>
                    <a:pt x="5724" y="5091"/>
                  </a:lnTo>
                  <a:lnTo>
                    <a:pt x="5919" y="4969"/>
                  </a:lnTo>
                  <a:lnTo>
                    <a:pt x="6114" y="4871"/>
                  </a:lnTo>
                  <a:lnTo>
                    <a:pt x="6333" y="4798"/>
                  </a:lnTo>
                  <a:lnTo>
                    <a:pt x="6528" y="4750"/>
                  </a:lnTo>
                  <a:lnTo>
                    <a:pt x="6747" y="4725"/>
                  </a:lnTo>
                  <a:lnTo>
                    <a:pt x="6966" y="4701"/>
                  </a:lnTo>
                  <a:lnTo>
                    <a:pt x="7185" y="4725"/>
                  </a:lnTo>
                  <a:lnTo>
                    <a:pt x="7404" y="4750"/>
                  </a:lnTo>
                  <a:lnTo>
                    <a:pt x="7624" y="4798"/>
                  </a:lnTo>
                  <a:lnTo>
                    <a:pt x="7818" y="4871"/>
                  </a:lnTo>
                  <a:lnTo>
                    <a:pt x="8038" y="4969"/>
                  </a:lnTo>
                  <a:lnTo>
                    <a:pt x="8232" y="5091"/>
                  </a:lnTo>
                  <a:lnTo>
                    <a:pt x="8403" y="5212"/>
                  </a:lnTo>
                  <a:lnTo>
                    <a:pt x="8573" y="5383"/>
                  </a:lnTo>
                  <a:lnTo>
                    <a:pt x="8573" y="5383"/>
                  </a:lnTo>
                  <a:lnTo>
                    <a:pt x="8744" y="5553"/>
                  </a:lnTo>
                  <a:lnTo>
                    <a:pt x="8866" y="5724"/>
                  </a:lnTo>
                  <a:lnTo>
                    <a:pt x="8987" y="5919"/>
                  </a:lnTo>
                  <a:lnTo>
                    <a:pt x="9085" y="6138"/>
                  </a:lnTo>
                  <a:lnTo>
                    <a:pt x="9158" y="6333"/>
                  </a:lnTo>
                  <a:lnTo>
                    <a:pt x="9207" y="6552"/>
                  </a:lnTo>
                  <a:lnTo>
                    <a:pt x="9231" y="6771"/>
                  </a:lnTo>
                  <a:lnTo>
                    <a:pt x="9231" y="6990"/>
                  </a:lnTo>
                  <a:lnTo>
                    <a:pt x="9231" y="7209"/>
                  </a:lnTo>
                  <a:lnTo>
                    <a:pt x="9207" y="7404"/>
                  </a:lnTo>
                  <a:lnTo>
                    <a:pt x="9158" y="7623"/>
                  </a:lnTo>
                  <a:lnTo>
                    <a:pt x="9085" y="7843"/>
                  </a:lnTo>
                  <a:lnTo>
                    <a:pt x="8987" y="8037"/>
                  </a:lnTo>
                  <a:lnTo>
                    <a:pt x="8866" y="8232"/>
                  </a:lnTo>
                  <a:lnTo>
                    <a:pt x="8744" y="8427"/>
                  </a:lnTo>
                  <a:lnTo>
                    <a:pt x="8573" y="8598"/>
                  </a:lnTo>
                  <a:lnTo>
                    <a:pt x="8573" y="8598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30" name="Shape 577"/>
            <p:cNvSpPr/>
            <p:nvPr/>
          </p:nvSpPr>
          <p:spPr>
            <a:xfrm>
              <a:off x="5566575" y="3193575"/>
              <a:ext cx="198525" cy="198525"/>
            </a:xfrm>
            <a:custGeom>
              <a:avLst/>
              <a:gdLst/>
              <a:ahLst/>
              <a:cxnLst/>
              <a:rect l="0" t="0" r="0" b="0"/>
              <a:pathLst>
                <a:path w="7941" h="7941" fill="none" extrusionOk="0">
                  <a:moveTo>
                    <a:pt x="7258" y="2144"/>
                  </a:moveTo>
                  <a:lnTo>
                    <a:pt x="6138" y="2388"/>
                  </a:lnTo>
                  <a:lnTo>
                    <a:pt x="6138" y="2388"/>
                  </a:lnTo>
                  <a:lnTo>
                    <a:pt x="6016" y="2217"/>
                  </a:lnTo>
                  <a:lnTo>
                    <a:pt x="5870" y="2071"/>
                  </a:lnTo>
                  <a:lnTo>
                    <a:pt x="6260" y="975"/>
                  </a:lnTo>
                  <a:lnTo>
                    <a:pt x="6260" y="975"/>
                  </a:lnTo>
                  <a:lnTo>
                    <a:pt x="6284" y="902"/>
                  </a:lnTo>
                  <a:lnTo>
                    <a:pt x="6284" y="829"/>
                  </a:lnTo>
                  <a:lnTo>
                    <a:pt x="6260" y="683"/>
                  </a:lnTo>
                  <a:lnTo>
                    <a:pt x="6162" y="561"/>
                  </a:lnTo>
                  <a:lnTo>
                    <a:pt x="6114" y="488"/>
                  </a:lnTo>
                  <a:lnTo>
                    <a:pt x="6065" y="464"/>
                  </a:lnTo>
                  <a:lnTo>
                    <a:pt x="5553" y="196"/>
                  </a:lnTo>
                  <a:lnTo>
                    <a:pt x="5553" y="196"/>
                  </a:lnTo>
                  <a:lnTo>
                    <a:pt x="5480" y="171"/>
                  </a:lnTo>
                  <a:lnTo>
                    <a:pt x="5407" y="171"/>
                  </a:lnTo>
                  <a:lnTo>
                    <a:pt x="5261" y="171"/>
                  </a:lnTo>
                  <a:lnTo>
                    <a:pt x="5115" y="244"/>
                  </a:lnTo>
                  <a:lnTo>
                    <a:pt x="5066" y="293"/>
                  </a:lnTo>
                  <a:lnTo>
                    <a:pt x="5018" y="342"/>
                  </a:lnTo>
                  <a:lnTo>
                    <a:pt x="4384" y="1316"/>
                  </a:lnTo>
                  <a:lnTo>
                    <a:pt x="4384" y="1316"/>
                  </a:lnTo>
                  <a:lnTo>
                    <a:pt x="4165" y="1292"/>
                  </a:lnTo>
                  <a:lnTo>
                    <a:pt x="3970" y="1292"/>
                  </a:lnTo>
                  <a:lnTo>
                    <a:pt x="3483" y="244"/>
                  </a:lnTo>
                  <a:lnTo>
                    <a:pt x="3483" y="244"/>
                  </a:lnTo>
                  <a:lnTo>
                    <a:pt x="3435" y="171"/>
                  </a:lnTo>
                  <a:lnTo>
                    <a:pt x="3386" y="123"/>
                  </a:lnTo>
                  <a:lnTo>
                    <a:pt x="3264" y="50"/>
                  </a:lnTo>
                  <a:lnTo>
                    <a:pt x="3118" y="1"/>
                  </a:lnTo>
                  <a:lnTo>
                    <a:pt x="3045" y="1"/>
                  </a:lnTo>
                  <a:lnTo>
                    <a:pt x="2972" y="25"/>
                  </a:lnTo>
                  <a:lnTo>
                    <a:pt x="2436" y="196"/>
                  </a:lnTo>
                  <a:lnTo>
                    <a:pt x="2436" y="196"/>
                  </a:lnTo>
                  <a:lnTo>
                    <a:pt x="2363" y="220"/>
                  </a:lnTo>
                  <a:lnTo>
                    <a:pt x="2290" y="269"/>
                  </a:lnTo>
                  <a:lnTo>
                    <a:pt x="2192" y="391"/>
                  </a:lnTo>
                  <a:lnTo>
                    <a:pt x="2144" y="537"/>
                  </a:lnTo>
                  <a:lnTo>
                    <a:pt x="2144" y="610"/>
                  </a:lnTo>
                  <a:lnTo>
                    <a:pt x="2144" y="683"/>
                  </a:lnTo>
                  <a:lnTo>
                    <a:pt x="2387" y="1828"/>
                  </a:lnTo>
                  <a:lnTo>
                    <a:pt x="2387" y="1828"/>
                  </a:lnTo>
                  <a:lnTo>
                    <a:pt x="2217" y="1949"/>
                  </a:lnTo>
                  <a:lnTo>
                    <a:pt x="2071" y="2095"/>
                  </a:lnTo>
                  <a:lnTo>
                    <a:pt x="999" y="1681"/>
                  </a:lnTo>
                  <a:lnTo>
                    <a:pt x="999" y="1681"/>
                  </a:lnTo>
                  <a:lnTo>
                    <a:pt x="926" y="1681"/>
                  </a:lnTo>
                  <a:lnTo>
                    <a:pt x="829" y="1657"/>
                  </a:lnTo>
                  <a:lnTo>
                    <a:pt x="682" y="1706"/>
                  </a:lnTo>
                  <a:lnTo>
                    <a:pt x="561" y="1779"/>
                  </a:lnTo>
                  <a:lnTo>
                    <a:pt x="512" y="1828"/>
                  </a:lnTo>
                  <a:lnTo>
                    <a:pt x="463" y="1901"/>
                  </a:lnTo>
                  <a:lnTo>
                    <a:pt x="220" y="2388"/>
                  </a:lnTo>
                  <a:lnTo>
                    <a:pt x="220" y="2388"/>
                  </a:lnTo>
                  <a:lnTo>
                    <a:pt x="195" y="2461"/>
                  </a:lnTo>
                  <a:lnTo>
                    <a:pt x="171" y="2534"/>
                  </a:lnTo>
                  <a:lnTo>
                    <a:pt x="195" y="2704"/>
                  </a:lnTo>
                  <a:lnTo>
                    <a:pt x="244" y="2826"/>
                  </a:lnTo>
                  <a:lnTo>
                    <a:pt x="293" y="2899"/>
                  </a:lnTo>
                  <a:lnTo>
                    <a:pt x="366" y="2948"/>
                  </a:lnTo>
                  <a:lnTo>
                    <a:pt x="1340" y="3581"/>
                  </a:lnTo>
                  <a:lnTo>
                    <a:pt x="1340" y="3581"/>
                  </a:lnTo>
                  <a:lnTo>
                    <a:pt x="1316" y="3776"/>
                  </a:lnTo>
                  <a:lnTo>
                    <a:pt x="1291" y="3995"/>
                  </a:lnTo>
                  <a:lnTo>
                    <a:pt x="244" y="4482"/>
                  </a:lnTo>
                  <a:lnTo>
                    <a:pt x="244" y="4482"/>
                  </a:lnTo>
                  <a:lnTo>
                    <a:pt x="195" y="4507"/>
                  </a:lnTo>
                  <a:lnTo>
                    <a:pt x="122" y="4555"/>
                  </a:lnTo>
                  <a:lnTo>
                    <a:pt x="49" y="4701"/>
                  </a:lnTo>
                  <a:lnTo>
                    <a:pt x="0" y="4848"/>
                  </a:lnTo>
                  <a:lnTo>
                    <a:pt x="25" y="4921"/>
                  </a:lnTo>
                  <a:lnTo>
                    <a:pt x="25" y="4994"/>
                  </a:lnTo>
                  <a:lnTo>
                    <a:pt x="220" y="5530"/>
                  </a:lnTo>
                  <a:lnTo>
                    <a:pt x="220" y="5530"/>
                  </a:lnTo>
                  <a:lnTo>
                    <a:pt x="244" y="5578"/>
                  </a:lnTo>
                  <a:lnTo>
                    <a:pt x="293" y="5651"/>
                  </a:lnTo>
                  <a:lnTo>
                    <a:pt x="390" y="5749"/>
                  </a:lnTo>
                  <a:lnTo>
                    <a:pt x="536" y="5797"/>
                  </a:lnTo>
                  <a:lnTo>
                    <a:pt x="609" y="5797"/>
                  </a:lnTo>
                  <a:lnTo>
                    <a:pt x="682" y="5797"/>
                  </a:lnTo>
                  <a:lnTo>
                    <a:pt x="1827" y="5554"/>
                  </a:lnTo>
                  <a:lnTo>
                    <a:pt x="1827" y="5554"/>
                  </a:lnTo>
                  <a:lnTo>
                    <a:pt x="1949" y="5724"/>
                  </a:lnTo>
                  <a:lnTo>
                    <a:pt x="2095" y="5870"/>
                  </a:lnTo>
                  <a:lnTo>
                    <a:pt x="1705" y="6966"/>
                  </a:lnTo>
                  <a:lnTo>
                    <a:pt x="1705" y="6966"/>
                  </a:lnTo>
                  <a:lnTo>
                    <a:pt x="1681" y="7040"/>
                  </a:lnTo>
                  <a:lnTo>
                    <a:pt x="1681" y="7113"/>
                  </a:lnTo>
                  <a:lnTo>
                    <a:pt x="1705" y="7259"/>
                  </a:lnTo>
                  <a:lnTo>
                    <a:pt x="1778" y="7380"/>
                  </a:lnTo>
                  <a:lnTo>
                    <a:pt x="1851" y="7429"/>
                  </a:lnTo>
                  <a:lnTo>
                    <a:pt x="1900" y="7478"/>
                  </a:lnTo>
                  <a:lnTo>
                    <a:pt x="2412" y="7721"/>
                  </a:lnTo>
                  <a:lnTo>
                    <a:pt x="2412" y="7721"/>
                  </a:lnTo>
                  <a:lnTo>
                    <a:pt x="2485" y="7770"/>
                  </a:lnTo>
                  <a:lnTo>
                    <a:pt x="2558" y="7770"/>
                  </a:lnTo>
                  <a:lnTo>
                    <a:pt x="2704" y="7770"/>
                  </a:lnTo>
                  <a:lnTo>
                    <a:pt x="2850" y="7697"/>
                  </a:lnTo>
                  <a:lnTo>
                    <a:pt x="2899" y="7648"/>
                  </a:lnTo>
                  <a:lnTo>
                    <a:pt x="2947" y="7600"/>
                  </a:lnTo>
                  <a:lnTo>
                    <a:pt x="3581" y="6625"/>
                  </a:lnTo>
                  <a:lnTo>
                    <a:pt x="3581" y="6625"/>
                  </a:lnTo>
                  <a:lnTo>
                    <a:pt x="3800" y="6650"/>
                  </a:lnTo>
                  <a:lnTo>
                    <a:pt x="3995" y="6650"/>
                  </a:lnTo>
                  <a:lnTo>
                    <a:pt x="4482" y="7697"/>
                  </a:lnTo>
                  <a:lnTo>
                    <a:pt x="4482" y="7697"/>
                  </a:lnTo>
                  <a:lnTo>
                    <a:pt x="4531" y="7770"/>
                  </a:lnTo>
                  <a:lnTo>
                    <a:pt x="4579" y="7819"/>
                  </a:lnTo>
                  <a:lnTo>
                    <a:pt x="4701" y="7892"/>
                  </a:lnTo>
                  <a:lnTo>
                    <a:pt x="4847" y="7941"/>
                  </a:lnTo>
                  <a:lnTo>
                    <a:pt x="4920" y="7941"/>
                  </a:lnTo>
                  <a:lnTo>
                    <a:pt x="4993" y="7916"/>
                  </a:lnTo>
                  <a:lnTo>
                    <a:pt x="5529" y="7746"/>
                  </a:lnTo>
                  <a:lnTo>
                    <a:pt x="5529" y="7746"/>
                  </a:lnTo>
                  <a:lnTo>
                    <a:pt x="5602" y="7721"/>
                  </a:lnTo>
                  <a:lnTo>
                    <a:pt x="5651" y="7673"/>
                  </a:lnTo>
                  <a:lnTo>
                    <a:pt x="5748" y="7551"/>
                  </a:lnTo>
                  <a:lnTo>
                    <a:pt x="5821" y="7405"/>
                  </a:lnTo>
                  <a:lnTo>
                    <a:pt x="5821" y="7332"/>
                  </a:lnTo>
                  <a:lnTo>
                    <a:pt x="5821" y="7259"/>
                  </a:lnTo>
                  <a:lnTo>
                    <a:pt x="5578" y="6114"/>
                  </a:lnTo>
                  <a:lnTo>
                    <a:pt x="5578" y="6114"/>
                  </a:lnTo>
                  <a:lnTo>
                    <a:pt x="5724" y="5992"/>
                  </a:lnTo>
                  <a:lnTo>
                    <a:pt x="5894" y="5846"/>
                  </a:lnTo>
                  <a:lnTo>
                    <a:pt x="6966" y="6260"/>
                  </a:lnTo>
                  <a:lnTo>
                    <a:pt x="6966" y="6260"/>
                  </a:lnTo>
                  <a:lnTo>
                    <a:pt x="7039" y="6260"/>
                  </a:lnTo>
                  <a:lnTo>
                    <a:pt x="7112" y="6285"/>
                  </a:lnTo>
                  <a:lnTo>
                    <a:pt x="7258" y="6236"/>
                  </a:lnTo>
                  <a:lnTo>
                    <a:pt x="7404" y="6163"/>
                  </a:lnTo>
                  <a:lnTo>
                    <a:pt x="7453" y="6114"/>
                  </a:lnTo>
                  <a:lnTo>
                    <a:pt x="7502" y="6041"/>
                  </a:lnTo>
                  <a:lnTo>
                    <a:pt x="7745" y="5530"/>
                  </a:lnTo>
                  <a:lnTo>
                    <a:pt x="7745" y="5530"/>
                  </a:lnTo>
                  <a:lnTo>
                    <a:pt x="7770" y="5481"/>
                  </a:lnTo>
                  <a:lnTo>
                    <a:pt x="7794" y="5383"/>
                  </a:lnTo>
                  <a:lnTo>
                    <a:pt x="7770" y="5237"/>
                  </a:lnTo>
                  <a:lnTo>
                    <a:pt x="7697" y="5115"/>
                  </a:lnTo>
                  <a:lnTo>
                    <a:pt x="7648" y="5042"/>
                  </a:lnTo>
                  <a:lnTo>
                    <a:pt x="7599" y="4994"/>
                  </a:lnTo>
                  <a:lnTo>
                    <a:pt x="6625" y="4360"/>
                  </a:lnTo>
                  <a:lnTo>
                    <a:pt x="6625" y="4360"/>
                  </a:lnTo>
                  <a:lnTo>
                    <a:pt x="6649" y="4166"/>
                  </a:lnTo>
                  <a:lnTo>
                    <a:pt x="6649" y="3946"/>
                  </a:lnTo>
                  <a:lnTo>
                    <a:pt x="7697" y="3459"/>
                  </a:lnTo>
                  <a:lnTo>
                    <a:pt x="7697" y="3459"/>
                  </a:lnTo>
                  <a:lnTo>
                    <a:pt x="7770" y="3435"/>
                  </a:lnTo>
                  <a:lnTo>
                    <a:pt x="7843" y="3386"/>
                  </a:lnTo>
                  <a:lnTo>
                    <a:pt x="7916" y="3240"/>
                  </a:lnTo>
                  <a:lnTo>
                    <a:pt x="7940" y="3094"/>
                  </a:lnTo>
                  <a:lnTo>
                    <a:pt x="7940" y="3021"/>
                  </a:lnTo>
                  <a:lnTo>
                    <a:pt x="7940" y="2948"/>
                  </a:lnTo>
                  <a:lnTo>
                    <a:pt x="7745" y="2412"/>
                  </a:lnTo>
                  <a:lnTo>
                    <a:pt x="7745" y="2412"/>
                  </a:lnTo>
                  <a:lnTo>
                    <a:pt x="7721" y="2339"/>
                  </a:lnTo>
                  <a:lnTo>
                    <a:pt x="7672" y="2290"/>
                  </a:lnTo>
                  <a:lnTo>
                    <a:pt x="7551" y="2193"/>
                  </a:lnTo>
                  <a:lnTo>
                    <a:pt x="7429" y="2144"/>
                  </a:lnTo>
                  <a:lnTo>
                    <a:pt x="7356" y="2144"/>
                  </a:lnTo>
                  <a:lnTo>
                    <a:pt x="7258" y="2144"/>
                  </a:lnTo>
                  <a:lnTo>
                    <a:pt x="7258" y="2144"/>
                  </a:lnTo>
                  <a:close/>
                  <a:moveTo>
                    <a:pt x="5480" y="4726"/>
                  </a:moveTo>
                  <a:lnTo>
                    <a:pt x="5480" y="4726"/>
                  </a:lnTo>
                  <a:lnTo>
                    <a:pt x="5383" y="4872"/>
                  </a:lnTo>
                  <a:lnTo>
                    <a:pt x="5286" y="4994"/>
                  </a:lnTo>
                  <a:lnTo>
                    <a:pt x="5188" y="5140"/>
                  </a:lnTo>
                  <a:lnTo>
                    <a:pt x="5066" y="5237"/>
                  </a:lnTo>
                  <a:lnTo>
                    <a:pt x="4945" y="5335"/>
                  </a:lnTo>
                  <a:lnTo>
                    <a:pt x="4798" y="5432"/>
                  </a:lnTo>
                  <a:lnTo>
                    <a:pt x="4652" y="5505"/>
                  </a:lnTo>
                  <a:lnTo>
                    <a:pt x="4506" y="5554"/>
                  </a:lnTo>
                  <a:lnTo>
                    <a:pt x="4360" y="5603"/>
                  </a:lnTo>
                  <a:lnTo>
                    <a:pt x="4190" y="5627"/>
                  </a:lnTo>
                  <a:lnTo>
                    <a:pt x="4043" y="5651"/>
                  </a:lnTo>
                  <a:lnTo>
                    <a:pt x="3873" y="5627"/>
                  </a:lnTo>
                  <a:lnTo>
                    <a:pt x="3702" y="5627"/>
                  </a:lnTo>
                  <a:lnTo>
                    <a:pt x="3556" y="5578"/>
                  </a:lnTo>
                  <a:lnTo>
                    <a:pt x="3386" y="5530"/>
                  </a:lnTo>
                  <a:lnTo>
                    <a:pt x="3240" y="5456"/>
                  </a:lnTo>
                  <a:lnTo>
                    <a:pt x="3240" y="5456"/>
                  </a:lnTo>
                  <a:lnTo>
                    <a:pt x="3094" y="5383"/>
                  </a:lnTo>
                  <a:lnTo>
                    <a:pt x="2947" y="5286"/>
                  </a:lnTo>
                  <a:lnTo>
                    <a:pt x="2826" y="5164"/>
                  </a:lnTo>
                  <a:lnTo>
                    <a:pt x="2704" y="5067"/>
                  </a:lnTo>
                  <a:lnTo>
                    <a:pt x="2606" y="4921"/>
                  </a:lnTo>
                  <a:lnTo>
                    <a:pt x="2533" y="4799"/>
                  </a:lnTo>
                  <a:lnTo>
                    <a:pt x="2460" y="4653"/>
                  </a:lnTo>
                  <a:lnTo>
                    <a:pt x="2387" y="4507"/>
                  </a:lnTo>
                  <a:lnTo>
                    <a:pt x="2363" y="4336"/>
                  </a:lnTo>
                  <a:lnTo>
                    <a:pt x="2314" y="4190"/>
                  </a:lnTo>
                  <a:lnTo>
                    <a:pt x="2314" y="4020"/>
                  </a:lnTo>
                  <a:lnTo>
                    <a:pt x="2314" y="3873"/>
                  </a:lnTo>
                  <a:lnTo>
                    <a:pt x="2339" y="3703"/>
                  </a:lnTo>
                  <a:lnTo>
                    <a:pt x="2363" y="3532"/>
                  </a:lnTo>
                  <a:lnTo>
                    <a:pt x="2412" y="3386"/>
                  </a:lnTo>
                  <a:lnTo>
                    <a:pt x="2485" y="3216"/>
                  </a:lnTo>
                  <a:lnTo>
                    <a:pt x="2485" y="3216"/>
                  </a:lnTo>
                  <a:lnTo>
                    <a:pt x="2582" y="3070"/>
                  </a:lnTo>
                  <a:lnTo>
                    <a:pt x="2680" y="2948"/>
                  </a:lnTo>
                  <a:lnTo>
                    <a:pt x="2777" y="2802"/>
                  </a:lnTo>
                  <a:lnTo>
                    <a:pt x="2899" y="2704"/>
                  </a:lnTo>
                  <a:lnTo>
                    <a:pt x="3020" y="2607"/>
                  </a:lnTo>
                  <a:lnTo>
                    <a:pt x="3167" y="2509"/>
                  </a:lnTo>
                  <a:lnTo>
                    <a:pt x="3313" y="2436"/>
                  </a:lnTo>
                  <a:lnTo>
                    <a:pt x="3459" y="2388"/>
                  </a:lnTo>
                  <a:lnTo>
                    <a:pt x="3605" y="2339"/>
                  </a:lnTo>
                  <a:lnTo>
                    <a:pt x="3775" y="2315"/>
                  </a:lnTo>
                  <a:lnTo>
                    <a:pt x="3922" y="2290"/>
                  </a:lnTo>
                  <a:lnTo>
                    <a:pt x="4092" y="2315"/>
                  </a:lnTo>
                  <a:lnTo>
                    <a:pt x="4263" y="2315"/>
                  </a:lnTo>
                  <a:lnTo>
                    <a:pt x="4409" y="2363"/>
                  </a:lnTo>
                  <a:lnTo>
                    <a:pt x="4579" y="2412"/>
                  </a:lnTo>
                  <a:lnTo>
                    <a:pt x="4725" y="2485"/>
                  </a:lnTo>
                  <a:lnTo>
                    <a:pt x="4725" y="2485"/>
                  </a:lnTo>
                  <a:lnTo>
                    <a:pt x="4871" y="2558"/>
                  </a:lnTo>
                  <a:lnTo>
                    <a:pt x="5018" y="2656"/>
                  </a:lnTo>
                  <a:lnTo>
                    <a:pt x="5139" y="2777"/>
                  </a:lnTo>
                  <a:lnTo>
                    <a:pt x="5261" y="2875"/>
                  </a:lnTo>
                  <a:lnTo>
                    <a:pt x="5359" y="3021"/>
                  </a:lnTo>
                  <a:lnTo>
                    <a:pt x="5432" y="3143"/>
                  </a:lnTo>
                  <a:lnTo>
                    <a:pt x="5505" y="3289"/>
                  </a:lnTo>
                  <a:lnTo>
                    <a:pt x="5578" y="3435"/>
                  </a:lnTo>
                  <a:lnTo>
                    <a:pt x="5602" y="3605"/>
                  </a:lnTo>
                  <a:lnTo>
                    <a:pt x="5626" y="3752"/>
                  </a:lnTo>
                  <a:lnTo>
                    <a:pt x="5651" y="3922"/>
                  </a:lnTo>
                  <a:lnTo>
                    <a:pt x="5651" y="4068"/>
                  </a:lnTo>
                  <a:lnTo>
                    <a:pt x="5626" y="4239"/>
                  </a:lnTo>
                  <a:lnTo>
                    <a:pt x="5602" y="4409"/>
                  </a:lnTo>
                  <a:lnTo>
                    <a:pt x="5553" y="4555"/>
                  </a:lnTo>
                  <a:lnTo>
                    <a:pt x="5480" y="4726"/>
                  </a:lnTo>
                  <a:lnTo>
                    <a:pt x="5480" y="4726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</p:grpSp>
      <p:grpSp>
        <p:nvGrpSpPr>
          <p:cNvPr id="31" name="Shape 613"/>
          <p:cNvGrpSpPr/>
          <p:nvPr/>
        </p:nvGrpSpPr>
        <p:grpSpPr>
          <a:xfrm>
            <a:off x="3063098" y="2166196"/>
            <a:ext cx="305393" cy="221638"/>
            <a:chOff x="3932350" y="3714775"/>
            <a:chExt cx="439650" cy="319075"/>
          </a:xfrm>
        </p:grpSpPr>
        <p:sp>
          <p:nvSpPr>
            <p:cNvPr id="32" name="Shape 614"/>
            <p:cNvSpPr/>
            <p:nvPr/>
          </p:nvSpPr>
          <p:spPr>
            <a:xfrm>
              <a:off x="3932350" y="3714775"/>
              <a:ext cx="439650" cy="319075"/>
            </a:xfrm>
            <a:custGeom>
              <a:avLst/>
              <a:gdLst/>
              <a:ahLst/>
              <a:cxnLst/>
              <a:rect l="0" t="0" r="0" b="0"/>
              <a:pathLst>
                <a:path w="17586" h="12763" fill="none" extrusionOk="0">
                  <a:moveTo>
                    <a:pt x="1" y="1"/>
                  </a:moveTo>
                  <a:lnTo>
                    <a:pt x="1" y="12276"/>
                  </a:lnTo>
                  <a:lnTo>
                    <a:pt x="1" y="12276"/>
                  </a:lnTo>
                  <a:lnTo>
                    <a:pt x="1" y="12373"/>
                  </a:lnTo>
                  <a:lnTo>
                    <a:pt x="25" y="12471"/>
                  </a:lnTo>
                  <a:lnTo>
                    <a:pt x="74" y="12544"/>
                  </a:lnTo>
                  <a:lnTo>
                    <a:pt x="123" y="12617"/>
                  </a:lnTo>
                  <a:lnTo>
                    <a:pt x="196" y="12690"/>
                  </a:lnTo>
                  <a:lnTo>
                    <a:pt x="293" y="12714"/>
                  </a:lnTo>
                  <a:lnTo>
                    <a:pt x="366" y="12763"/>
                  </a:lnTo>
                  <a:lnTo>
                    <a:pt x="488" y="12763"/>
                  </a:lnTo>
                  <a:lnTo>
                    <a:pt x="17585" y="12763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33" name="Shape 615"/>
            <p:cNvSpPr/>
            <p:nvPr/>
          </p:nvSpPr>
          <p:spPr>
            <a:xfrm>
              <a:off x="3970100" y="3862750"/>
              <a:ext cx="77350" cy="132750"/>
            </a:xfrm>
            <a:custGeom>
              <a:avLst/>
              <a:gdLst/>
              <a:ahLst/>
              <a:cxnLst/>
              <a:rect l="0" t="0" r="0" b="0"/>
              <a:pathLst>
                <a:path w="3094" h="5310" fill="none" extrusionOk="0">
                  <a:moveTo>
                    <a:pt x="3094" y="5309"/>
                  </a:moveTo>
                  <a:lnTo>
                    <a:pt x="3094" y="487"/>
                  </a:lnTo>
                  <a:lnTo>
                    <a:pt x="3094" y="487"/>
                  </a:lnTo>
                  <a:lnTo>
                    <a:pt x="3094" y="390"/>
                  </a:lnTo>
                  <a:lnTo>
                    <a:pt x="3070" y="292"/>
                  </a:lnTo>
                  <a:lnTo>
                    <a:pt x="3021" y="219"/>
                  </a:lnTo>
                  <a:lnTo>
                    <a:pt x="2948" y="146"/>
                  </a:lnTo>
                  <a:lnTo>
                    <a:pt x="2899" y="97"/>
                  </a:lnTo>
                  <a:lnTo>
                    <a:pt x="2802" y="49"/>
                  </a:lnTo>
                  <a:lnTo>
                    <a:pt x="2704" y="24"/>
                  </a:lnTo>
                  <a:lnTo>
                    <a:pt x="2607" y="0"/>
                  </a:lnTo>
                  <a:lnTo>
                    <a:pt x="488" y="0"/>
                  </a:lnTo>
                  <a:lnTo>
                    <a:pt x="488" y="0"/>
                  </a:lnTo>
                  <a:lnTo>
                    <a:pt x="391" y="24"/>
                  </a:lnTo>
                  <a:lnTo>
                    <a:pt x="293" y="49"/>
                  </a:lnTo>
                  <a:lnTo>
                    <a:pt x="220" y="97"/>
                  </a:lnTo>
                  <a:lnTo>
                    <a:pt x="147" y="146"/>
                  </a:lnTo>
                  <a:lnTo>
                    <a:pt x="74" y="219"/>
                  </a:lnTo>
                  <a:lnTo>
                    <a:pt x="50" y="292"/>
                  </a:lnTo>
                  <a:lnTo>
                    <a:pt x="1" y="390"/>
                  </a:lnTo>
                  <a:lnTo>
                    <a:pt x="1" y="487"/>
                  </a:lnTo>
                  <a:lnTo>
                    <a:pt x="1" y="5309"/>
                  </a:lnTo>
                  <a:lnTo>
                    <a:pt x="3094" y="530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34" name="Shape 616"/>
            <p:cNvSpPr/>
            <p:nvPr/>
          </p:nvSpPr>
          <p:spPr>
            <a:xfrm>
              <a:off x="4278800" y="3862750"/>
              <a:ext cx="77350" cy="132750"/>
            </a:xfrm>
            <a:custGeom>
              <a:avLst/>
              <a:gdLst/>
              <a:ahLst/>
              <a:cxnLst/>
              <a:rect l="0" t="0" r="0" b="0"/>
              <a:pathLst>
                <a:path w="3094" h="5310" fill="none" extrusionOk="0">
                  <a:moveTo>
                    <a:pt x="3094" y="5309"/>
                  </a:moveTo>
                  <a:lnTo>
                    <a:pt x="3094" y="487"/>
                  </a:lnTo>
                  <a:lnTo>
                    <a:pt x="3094" y="487"/>
                  </a:lnTo>
                  <a:lnTo>
                    <a:pt x="3094" y="390"/>
                  </a:lnTo>
                  <a:lnTo>
                    <a:pt x="3070" y="292"/>
                  </a:lnTo>
                  <a:lnTo>
                    <a:pt x="3021" y="219"/>
                  </a:lnTo>
                  <a:lnTo>
                    <a:pt x="2948" y="146"/>
                  </a:lnTo>
                  <a:lnTo>
                    <a:pt x="2899" y="97"/>
                  </a:lnTo>
                  <a:lnTo>
                    <a:pt x="2802" y="49"/>
                  </a:lnTo>
                  <a:lnTo>
                    <a:pt x="2704" y="24"/>
                  </a:lnTo>
                  <a:lnTo>
                    <a:pt x="2607" y="0"/>
                  </a:lnTo>
                  <a:lnTo>
                    <a:pt x="488" y="0"/>
                  </a:lnTo>
                  <a:lnTo>
                    <a:pt x="488" y="0"/>
                  </a:lnTo>
                  <a:lnTo>
                    <a:pt x="390" y="24"/>
                  </a:lnTo>
                  <a:lnTo>
                    <a:pt x="293" y="49"/>
                  </a:lnTo>
                  <a:lnTo>
                    <a:pt x="220" y="97"/>
                  </a:lnTo>
                  <a:lnTo>
                    <a:pt x="147" y="146"/>
                  </a:lnTo>
                  <a:lnTo>
                    <a:pt x="74" y="219"/>
                  </a:lnTo>
                  <a:lnTo>
                    <a:pt x="50" y="292"/>
                  </a:lnTo>
                  <a:lnTo>
                    <a:pt x="1" y="390"/>
                  </a:lnTo>
                  <a:lnTo>
                    <a:pt x="1" y="487"/>
                  </a:lnTo>
                  <a:lnTo>
                    <a:pt x="1" y="5309"/>
                  </a:lnTo>
                  <a:lnTo>
                    <a:pt x="3094" y="530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35" name="Shape 617"/>
            <p:cNvSpPr/>
            <p:nvPr/>
          </p:nvSpPr>
          <p:spPr>
            <a:xfrm>
              <a:off x="4073000" y="3716600"/>
              <a:ext cx="77350" cy="278900"/>
            </a:xfrm>
            <a:custGeom>
              <a:avLst/>
              <a:gdLst/>
              <a:ahLst/>
              <a:cxnLst/>
              <a:rect l="0" t="0" r="0" b="0"/>
              <a:pathLst>
                <a:path w="3094" h="11156" fill="none" extrusionOk="0">
                  <a:moveTo>
                    <a:pt x="3094" y="11155"/>
                  </a:moveTo>
                  <a:lnTo>
                    <a:pt x="3094" y="488"/>
                  </a:lnTo>
                  <a:lnTo>
                    <a:pt x="3094" y="488"/>
                  </a:lnTo>
                  <a:lnTo>
                    <a:pt x="3094" y="391"/>
                  </a:lnTo>
                  <a:lnTo>
                    <a:pt x="3070" y="293"/>
                  </a:lnTo>
                  <a:lnTo>
                    <a:pt x="3021" y="220"/>
                  </a:lnTo>
                  <a:lnTo>
                    <a:pt x="2948" y="147"/>
                  </a:lnTo>
                  <a:lnTo>
                    <a:pt x="2899" y="98"/>
                  </a:lnTo>
                  <a:lnTo>
                    <a:pt x="2802" y="50"/>
                  </a:lnTo>
                  <a:lnTo>
                    <a:pt x="2704" y="25"/>
                  </a:lnTo>
                  <a:lnTo>
                    <a:pt x="2607" y="1"/>
                  </a:lnTo>
                  <a:lnTo>
                    <a:pt x="488" y="1"/>
                  </a:lnTo>
                  <a:lnTo>
                    <a:pt x="488" y="1"/>
                  </a:lnTo>
                  <a:lnTo>
                    <a:pt x="391" y="25"/>
                  </a:lnTo>
                  <a:lnTo>
                    <a:pt x="293" y="50"/>
                  </a:lnTo>
                  <a:lnTo>
                    <a:pt x="220" y="98"/>
                  </a:lnTo>
                  <a:lnTo>
                    <a:pt x="147" y="147"/>
                  </a:lnTo>
                  <a:lnTo>
                    <a:pt x="74" y="220"/>
                  </a:lnTo>
                  <a:lnTo>
                    <a:pt x="50" y="293"/>
                  </a:lnTo>
                  <a:lnTo>
                    <a:pt x="1" y="391"/>
                  </a:lnTo>
                  <a:lnTo>
                    <a:pt x="1" y="488"/>
                  </a:lnTo>
                  <a:lnTo>
                    <a:pt x="1" y="11155"/>
                  </a:lnTo>
                  <a:lnTo>
                    <a:pt x="3094" y="11155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36" name="Shape 618"/>
            <p:cNvSpPr/>
            <p:nvPr/>
          </p:nvSpPr>
          <p:spPr>
            <a:xfrm>
              <a:off x="4175900" y="3787250"/>
              <a:ext cx="77350" cy="208250"/>
            </a:xfrm>
            <a:custGeom>
              <a:avLst/>
              <a:gdLst/>
              <a:ahLst/>
              <a:cxnLst/>
              <a:rect l="0" t="0" r="0" b="0"/>
              <a:pathLst>
                <a:path w="3094" h="8330" fill="none" extrusionOk="0">
                  <a:moveTo>
                    <a:pt x="3094" y="8329"/>
                  </a:moveTo>
                  <a:lnTo>
                    <a:pt x="3094" y="487"/>
                  </a:lnTo>
                  <a:lnTo>
                    <a:pt x="3094" y="487"/>
                  </a:lnTo>
                  <a:lnTo>
                    <a:pt x="3094" y="390"/>
                  </a:lnTo>
                  <a:lnTo>
                    <a:pt x="3070" y="292"/>
                  </a:lnTo>
                  <a:lnTo>
                    <a:pt x="3021" y="219"/>
                  </a:lnTo>
                  <a:lnTo>
                    <a:pt x="2948" y="146"/>
                  </a:lnTo>
                  <a:lnTo>
                    <a:pt x="2899" y="97"/>
                  </a:lnTo>
                  <a:lnTo>
                    <a:pt x="2802" y="49"/>
                  </a:lnTo>
                  <a:lnTo>
                    <a:pt x="2704" y="24"/>
                  </a:lnTo>
                  <a:lnTo>
                    <a:pt x="2607" y="0"/>
                  </a:lnTo>
                  <a:lnTo>
                    <a:pt x="488" y="0"/>
                  </a:lnTo>
                  <a:lnTo>
                    <a:pt x="488" y="0"/>
                  </a:lnTo>
                  <a:lnTo>
                    <a:pt x="391" y="24"/>
                  </a:lnTo>
                  <a:lnTo>
                    <a:pt x="293" y="49"/>
                  </a:lnTo>
                  <a:lnTo>
                    <a:pt x="220" y="97"/>
                  </a:lnTo>
                  <a:lnTo>
                    <a:pt x="147" y="146"/>
                  </a:lnTo>
                  <a:lnTo>
                    <a:pt x="74" y="219"/>
                  </a:lnTo>
                  <a:lnTo>
                    <a:pt x="50" y="292"/>
                  </a:lnTo>
                  <a:lnTo>
                    <a:pt x="1" y="390"/>
                  </a:lnTo>
                  <a:lnTo>
                    <a:pt x="1" y="487"/>
                  </a:lnTo>
                  <a:lnTo>
                    <a:pt x="1" y="8329"/>
                  </a:lnTo>
                  <a:lnTo>
                    <a:pt x="3094" y="832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</p:grpSp>
      <p:grpSp>
        <p:nvGrpSpPr>
          <p:cNvPr id="37" name="Shape 779"/>
          <p:cNvGrpSpPr/>
          <p:nvPr/>
        </p:nvGrpSpPr>
        <p:grpSpPr>
          <a:xfrm>
            <a:off x="3126552" y="2768462"/>
            <a:ext cx="178485" cy="282974"/>
            <a:chOff x="6718575" y="2318625"/>
            <a:chExt cx="256950" cy="407375"/>
          </a:xfrm>
        </p:grpSpPr>
        <p:sp>
          <p:nvSpPr>
            <p:cNvPr id="38" name="Shape 780"/>
            <p:cNvSpPr/>
            <p:nvPr/>
          </p:nvSpPr>
          <p:spPr>
            <a:xfrm>
              <a:off x="6795900" y="2673600"/>
              <a:ext cx="102300" cy="22550"/>
            </a:xfrm>
            <a:custGeom>
              <a:avLst/>
              <a:gdLst/>
              <a:ahLst/>
              <a:cxnLst/>
              <a:rect l="0" t="0" r="0" b="0"/>
              <a:pathLst>
                <a:path w="4092" h="902" fill="none" extrusionOk="0">
                  <a:moveTo>
                    <a:pt x="4092" y="902"/>
                  </a:moveTo>
                  <a:lnTo>
                    <a:pt x="4092" y="1"/>
                  </a:lnTo>
                  <a:lnTo>
                    <a:pt x="0" y="1"/>
                  </a:lnTo>
                  <a:lnTo>
                    <a:pt x="0" y="902"/>
                  </a:lnTo>
                  <a:lnTo>
                    <a:pt x="4092" y="902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39" name="Shape 781"/>
            <p:cNvSpPr/>
            <p:nvPr/>
          </p:nvSpPr>
          <p:spPr>
            <a:xfrm>
              <a:off x="6795900" y="2650475"/>
              <a:ext cx="102300" cy="22550"/>
            </a:xfrm>
            <a:custGeom>
              <a:avLst/>
              <a:gdLst/>
              <a:ahLst/>
              <a:cxnLst/>
              <a:rect l="0" t="0" r="0" b="0"/>
              <a:pathLst>
                <a:path w="4092" h="902" fill="none" extrusionOk="0">
                  <a:moveTo>
                    <a:pt x="4092" y="901"/>
                  </a:moveTo>
                  <a:lnTo>
                    <a:pt x="4092" y="0"/>
                  </a:lnTo>
                  <a:lnTo>
                    <a:pt x="0" y="0"/>
                  </a:lnTo>
                  <a:lnTo>
                    <a:pt x="0" y="901"/>
                  </a:lnTo>
                  <a:lnTo>
                    <a:pt x="4092" y="901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40" name="Shape 782"/>
            <p:cNvSpPr/>
            <p:nvPr/>
          </p:nvSpPr>
          <p:spPr>
            <a:xfrm>
              <a:off x="6795900" y="2696125"/>
              <a:ext cx="102300" cy="29875"/>
            </a:xfrm>
            <a:custGeom>
              <a:avLst/>
              <a:gdLst/>
              <a:ahLst/>
              <a:cxnLst/>
              <a:rect l="0" t="0" r="0" b="0"/>
              <a:pathLst>
                <a:path w="4092" h="1195" fill="none" extrusionOk="0">
                  <a:moveTo>
                    <a:pt x="0" y="1"/>
                  </a:moveTo>
                  <a:lnTo>
                    <a:pt x="0" y="171"/>
                  </a:lnTo>
                  <a:lnTo>
                    <a:pt x="0" y="171"/>
                  </a:lnTo>
                  <a:lnTo>
                    <a:pt x="24" y="318"/>
                  </a:lnTo>
                  <a:lnTo>
                    <a:pt x="98" y="464"/>
                  </a:lnTo>
                  <a:lnTo>
                    <a:pt x="195" y="585"/>
                  </a:lnTo>
                  <a:lnTo>
                    <a:pt x="341" y="659"/>
                  </a:lnTo>
                  <a:lnTo>
                    <a:pt x="1875" y="1170"/>
                  </a:lnTo>
                  <a:lnTo>
                    <a:pt x="1875" y="1170"/>
                  </a:lnTo>
                  <a:lnTo>
                    <a:pt x="2046" y="1194"/>
                  </a:lnTo>
                  <a:lnTo>
                    <a:pt x="2046" y="1194"/>
                  </a:lnTo>
                  <a:lnTo>
                    <a:pt x="2216" y="1170"/>
                  </a:lnTo>
                  <a:lnTo>
                    <a:pt x="3751" y="659"/>
                  </a:lnTo>
                  <a:lnTo>
                    <a:pt x="3751" y="659"/>
                  </a:lnTo>
                  <a:lnTo>
                    <a:pt x="3897" y="585"/>
                  </a:lnTo>
                  <a:lnTo>
                    <a:pt x="3994" y="464"/>
                  </a:lnTo>
                  <a:lnTo>
                    <a:pt x="4067" y="318"/>
                  </a:lnTo>
                  <a:lnTo>
                    <a:pt x="4092" y="171"/>
                  </a:lnTo>
                  <a:lnTo>
                    <a:pt x="4092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41" name="Shape 783"/>
            <p:cNvSpPr/>
            <p:nvPr/>
          </p:nvSpPr>
          <p:spPr>
            <a:xfrm>
              <a:off x="6784925" y="2459275"/>
              <a:ext cx="35350" cy="166875"/>
            </a:xfrm>
            <a:custGeom>
              <a:avLst/>
              <a:gdLst/>
              <a:ahLst/>
              <a:cxnLst/>
              <a:rect l="0" t="0" r="0" b="0"/>
              <a:pathLst>
                <a:path w="1414" h="6675" fill="none" extrusionOk="0">
                  <a:moveTo>
                    <a:pt x="1413" y="6674"/>
                  </a:moveTo>
                  <a:lnTo>
                    <a:pt x="1413" y="6674"/>
                  </a:lnTo>
                  <a:lnTo>
                    <a:pt x="585" y="2850"/>
                  </a:lnTo>
                  <a:lnTo>
                    <a:pt x="1" y="1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42" name="Shape 784"/>
            <p:cNvSpPr/>
            <p:nvPr/>
          </p:nvSpPr>
          <p:spPr>
            <a:xfrm>
              <a:off x="6718575" y="2318625"/>
              <a:ext cx="256950" cy="307525"/>
            </a:xfrm>
            <a:custGeom>
              <a:avLst/>
              <a:gdLst/>
              <a:ahLst/>
              <a:cxnLst/>
              <a:rect l="0" t="0" r="0" b="0"/>
              <a:pathLst>
                <a:path w="10278" h="12301" fill="none" extrusionOk="0">
                  <a:moveTo>
                    <a:pt x="7185" y="12300"/>
                  </a:moveTo>
                  <a:lnTo>
                    <a:pt x="7185" y="12300"/>
                  </a:lnTo>
                  <a:lnTo>
                    <a:pt x="7307" y="11764"/>
                  </a:lnTo>
                  <a:lnTo>
                    <a:pt x="7477" y="11253"/>
                  </a:lnTo>
                  <a:lnTo>
                    <a:pt x="7672" y="10766"/>
                  </a:lnTo>
                  <a:lnTo>
                    <a:pt x="7891" y="10327"/>
                  </a:lnTo>
                  <a:lnTo>
                    <a:pt x="8135" y="9913"/>
                  </a:lnTo>
                  <a:lnTo>
                    <a:pt x="8378" y="9499"/>
                  </a:lnTo>
                  <a:lnTo>
                    <a:pt x="8914" y="8720"/>
                  </a:lnTo>
                  <a:lnTo>
                    <a:pt x="9182" y="8330"/>
                  </a:lnTo>
                  <a:lnTo>
                    <a:pt x="9425" y="7941"/>
                  </a:lnTo>
                  <a:lnTo>
                    <a:pt x="9645" y="7551"/>
                  </a:lnTo>
                  <a:lnTo>
                    <a:pt x="9864" y="7113"/>
                  </a:lnTo>
                  <a:lnTo>
                    <a:pt x="10034" y="6674"/>
                  </a:lnTo>
                  <a:lnTo>
                    <a:pt x="10156" y="6187"/>
                  </a:lnTo>
                  <a:lnTo>
                    <a:pt x="10229" y="5676"/>
                  </a:lnTo>
                  <a:lnTo>
                    <a:pt x="10253" y="5408"/>
                  </a:lnTo>
                  <a:lnTo>
                    <a:pt x="10278" y="5140"/>
                  </a:lnTo>
                  <a:lnTo>
                    <a:pt x="10278" y="5140"/>
                  </a:lnTo>
                  <a:lnTo>
                    <a:pt x="10229" y="4604"/>
                  </a:lnTo>
                  <a:lnTo>
                    <a:pt x="10156" y="4093"/>
                  </a:lnTo>
                  <a:lnTo>
                    <a:pt x="10034" y="3605"/>
                  </a:lnTo>
                  <a:lnTo>
                    <a:pt x="9864" y="3143"/>
                  </a:lnTo>
                  <a:lnTo>
                    <a:pt x="9645" y="2680"/>
                  </a:lnTo>
                  <a:lnTo>
                    <a:pt x="9401" y="2266"/>
                  </a:lnTo>
                  <a:lnTo>
                    <a:pt x="9084" y="1876"/>
                  </a:lnTo>
                  <a:lnTo>
                    <a:pt x="8768" y="1511"/>
                  </a:lnTo>
                  <a:lnTo>
                    <a:pt x="8402" y="1170"/>
                  </a:lnTo>
                  <a:lnTo>
                    <a:pt x="8013" y="878"/>
                  </a:lnTo>
                  <a:lnTo>
                    <a:pt x="7574" y="634"/>
                  </a:lnTo>
                  <a:lnTo>
                    <a:pt x="7136" y="415"/>
                  </a:lnTo>
                  <a:lnTo>
                    <a:pt x="6673" y="244"/>
                  </a:lnTo>
                  <a:lnTo>
                    <a:pt x="6162" y="98"/>
                  </a:lnTo>
                  <a:lnTo>
                    <a:pt x="5675" y="25"/>
                  </a:lnTo>
                  <a:lnTo>
                    <a:pt x="5139" y="1"/>
                  </a:lnTo>
                  <a:lnTo>
                    <a:pt x="5139" y="1"/>
                  </a:lnTo>
                  <a:lnTo>
                    <a:pt x="4603" y="25"/>
                  </a:lnTo>
                  <a:lnTo>
                    <a:pt x="4116" y="98"/>
                  </a:lnTo>
                  <a:lnTo>
                    <a:pt x="3605" y="244"/>
                  </a:lnTo>
                  <a:lnTo>
                    <a:pt x="3142" y="415"/>
                  </a:lnTo>
                  <a:lnTo>
                    <a:pt x="2703" y="634"/>
                  </a:lnTo>
                  <a:lnTo>
                    <a:pt x="2265" y="878"/>
                  </a:lnTo>
                  <a:lnTo>
                    <a:pt x="1875" y="1170"/>
                  </a:lnTo>
                  <a:lnTo>
                    <a:pt x="1510" y="1511"/>
                  </a:lnTo>
                  <a:lnTo>
                    <a:pt x="1193" y="1876"/>
                  </a:lnTo>
                  <a:lnTo>
                    <a:pt x="877" y="2266"/>
                  </a:lnTo>
                  <a:lnTo>
                    <a:pt x="633" y="2680"/>
                  </a:lnTo>
                  <a:lnTo>
                    <a:pt x="414" y="3143"/>
                  </a:lnTo>
                  <a:lnTo>
                    <a:pt x="244" y="3605"/>
                  </a:lnTo>
                  <a:lnTo>
                    <a:pt x="122" y="4093"/>
                  </a:lnTo>
                  <a:lnTo>
                    <a:pt x="49" y="4604"/>
                  </a:lnTo>
                  <a:lnTo>
                    <a:pt x="0" y="5140"/>
                  </a:lnTo>
                  <a:lnTo>
                    <a:pt x="0" y="5140"/>
                  </a:lnTo>
                  <a:lnTo>
                    <a:pt x="24" y="5408"/>
                  </a:lnTo>
                  <a:lnTo>
                    <a:pt x="49" y="5676"/>
                  </a:lnTo>
                  <a:lnTo>
                    <a:pt x="122" y="6187"/>
                  </a:lnTo>
                  <a:lnTo>
                    <a:pt x="244" y="6674"/>
                  </a:lnTo>
                  <a:lnTo>
                    <a:pt x="414" y="7113"/>
                  </a:lnTo>
                  <a:lnTo>
                    <a:pt x="633" y="7551"/>
                  </a:lnTo>
                  <a:lnTo>
                    <a:pt x="852" y="7941"/>
                  </a:lnTo>
                  <a:lnTo>
                    <a:pt x="1096" y="8330"/>
                  </a:lnTo>
                  <a:lnTo>
                    <a:pt x="1364" y="8720"/>
                  </a:lnTo>
                  <a:lnTo>
                    <a:pt x="1900" y="9499"/>
                  </a:lnTo>
                  <a:lnTo>
                    <a:pt x="2143" y="9913"/>
                  </a:lnTo>
                  <a:lnTo>
                    <a:pt x="2387" y="10327"/>
                  </a:lnTo>
                  <a:lnTo>
                    <a:pt x="2606" y="10766"/>
                  </a:lnTo>
                  <a:lnTo>
                    <a:pt x="2801" y="11253"/>
                  </a:lnTo>
                  <a:lnTo>
                    <a:pt x="2971" y="11764"/>
                  </a:lnTo>
                  <a:lnTo>
                    <a:pt x="3093" y="12300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43" name="Shape 785"/>
            <p:cNvSpPr/>
            <p:nvPr/>
          </p:nvSpPr>
          <p:spPr>
            <a:xfrm>
              <a:off x="6873825" y="2459275"/>
              <a:ext cx="35350" cy="166875"/>
            </a:xfrm>
            <a:custGeom>
              <a:avLst/>
              <a:gdLst/>
              <a:ahLst/>
              <a:cxnLst/>
              <a:rect l="0" t="0" r="0" b="0"/>
              <a:pathLst>
                <a:path w="1414" h="6675" fill="none" extrusionOk="0">
                  <a:moveTo>
                    <a:pt x="1413" y="1"/>
                  </a:moveTo>
                  <a:lnTo>
                    <a:pt x="1413" y="1"/>
                  </a:lnTo>
                  <a:lnTo>
                    <a:pt x="829" y="2850"/>
                  </a:lnTo>
                  <a:lnTo>
                    <a:pt x="1" y="6674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44" name="Shape 786"/>
            <p:cNvSpPr/>
            <p:nvPr/>
          </p:nvSpPr>
          <p:spPr>
            <a:xfrm>
              <a:off x="6801975" y="2453200"/>
              <a:ext cx="90150" cy="19500"/>
            </a:xfrm>
            <a:custGeom>
              <a:avLst/>
              <a:gdLst/>
              <a:ahLst/>
              <a:cxnLst/>
              <a:rect l="0" t="0" r="0" b="0"/>
              <a:pathLst>
                <a:path w="3606" h="780" fill="none" extrusionOk="0">
                  <a:moveTo>
                    <a:pt x="1" y="73"/>
                  </a:moveTo>
                  <a:lnTo>
                    <a:pt x="829" y="780"/>
                  </a:lnTo>
                  <a:lnTo>
                    <a:pt x="1657" y="73"/>
                  </a:lnTo>
                  <a:lnTo>
                    <a:pt x="1657" y="73"/>
                  </a:lnTo>
                  <a:lnTo>
                    <a:pt x="1730" y="25"/>
                  </a:lnTo>
                  <a:lnTo>
                    <a:pt x="1803" y="0"/>
                  </a:lnTo>
                  <a:lnTo>
                    <a:pt x="1876" y="25"/>
                  </a:lnTo>
                  <a:lnTo>
                    <a:pt x="1949" y="73"/>
                  </a:lnTo>
                  <a:lnTo>
                    <a:pt x="2777" y="780"/>
                  </a:lnTo>
                  <a:lnTo>
                    <a:pt x="3605" y="73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45" name="Shape 787"/>
            <p:cNvSpPr/>
            <p:nvPr/>
          </p:nvSpPr>
          <p:spPr>
            <a:xfrm>
              <a:off x="6795900" y="2628550"/>
              <a:ext cx="102300" cy="25"/>
            </a:xfrm>
            <a:custGeom>
              <a:avLst/>
              <a:gdLst/>
              <a:ahLst/>
              <a:cxnLst/>
              <a:rect l="0" t="0" r="0" b="0"/>
              <a:pathLst>
                <a:path w="4092" h="1" fill="none" extrusionOk="0">
                  <a:moveTo>
                    <a:pt x="0" y="1"/>
                  </a:moveTo>
                  <a:lnTo>
                    <a:pt x="4092" y="1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</p:grpSp>
      <p:sp>
        <p:nvSpPr>
          <p:cNvPr id="22" name="Shape 645"/>
          <p:cNvSpPr/>
          <p:nvPr/>
        </p:nvSpPr>
        <p:spPr>
          <a:xfrm>
            <a:off x="3014039" y="3518620"/>
            <a:ext cx="332449" cy="187793"/>
          </a:xfrm>
          <a:custGeom>
            <a:avLst/>
            <a:gdLst/>
            <a:ahLst/>
            <a:cxnLst/>
            <a:rect l="0" t="0" r="0" b="0"/>
            <a:pathLst>
              <a:path w="19144" h="10814" fill="none" extrusionOk="0">
                <a:moveTo>
                  <a:pt x="16124" y="4774"/>
                </a:moveTo>
                <a:lnTo>
                  <a:pt x="15369" y="4774"/>
                </a:lnTo>
                <a:lnTo>
                  <a:pt x="15369" y="4774"/>
                </a:lnTo>
                <a:lnTo>
                  <a:pt x="15393" y="4482"/>
                </a:lnTo>
                <a:lnTo>
                  <a:pt x="15393" y="4482"/>
                </a:lnTo>
                <a:lnTo>
                  <a:pt x="15369" y="4189"/>
                </a:lnTo>
                <a:lnTo>
                  <a:pt x="15344" y="3921"/>
                </a:lnTo>
                <a:lnTo>
                  <a:pt x="15271" y="3654"/>
                </a:lnTo>
                <a:lnTo>
                  <a:pt x="15174" y="3410"/>
                </a:lnTo>
                <a:lnTo>
                  <a:pt x="15052" y="3166"/>
                </a:lnTo>
                <a:lnTo>
                  <a:pt x="14930" y="2947"/>
                </a:lnTo>
                <a:lnTo>
                  <a:pt x="14760" y="2728"/>
                </a:lnTo>
                <a:lnTo>
                  <a:pt x="14589" y="2533"/>
                </a:lnTo>
                <a:lnTo>
                  <a:pt x="14394" y="2363"/>
                </a:lnTo>
                <a:lnTo>
                  <a:pt x="14175" y="2192"/>
                </a:lnTo>
                <a:lnTo>
                  <a:pt x="13956" y="2070"/>
                </a:lnTo>
                <a:lnTo>
                  <a:pt x="13712" y="1949"/>
                </a:lnTo>
                <a:lnTo>
                  <a:pt x="13469" y="1851"/>
                </a:lnTo>
                <a:lnTo>
                  <a:pt x="13201" y="1778"/>
                </a:lnTo>
                <a:lnTo>
                  <a:pt x="12933" y="1754"/>
                </a:lnTo>
                <a:lnTo>
                  <a:pt x="12641" y="1729"/>
                </a:lnTo>
                <a:lnTo>
                  <a:pt x="12641" y="1729"/>
                </a:lnTo>
                <a:lnTo>
                  <a:pt x="12300" y="1754"/>
                </a:lnTo>
                <a:lnTo>
                  <a:pt x="11959" y="1827"/>
                </a:lnTo>
                <a:lnTo>
                  <a:pt x="11618" y="1924"/>
                </a:lnTo>
                <a:lnTo>
                  <a:pt x="11326" y="2070"/>
                </a:lnTo>
                <a:lnTo>
                  <a:pt x="11326" y="2070"/>
                </a:lnTo>
                <a:lnTo>
                  <a:pt x="11155" y="1851"/>
                </a:lnTo>
                <a:lnTo>
                  <a:pt x="10985" y="1632"/>
                </a:lnTo>
                <a:lnTo>
                  <a:pt x="10814" y="1413"/>
                </a:lnTo>
                <a:lnTo>
                  <a:pt x="10619" y="1218"/>
                </a:lnTo>
                <a:lnTo>
                  <a:pt x="10425" y="1048"/>
                </a:lnTo>
                <a:lnTo>
                  <a:pt x="10205" y="877"/>
                </a:lnTo>
                <a:lnTo>
                  <a:pt x="9962" y="707"/>
                </a:lnTo>
                <a:lnTo>
                  <a:pt x="9718" y="560"/>
                </a:lnTo>
                <a:lnTo>
                  <a:pt x="9475" y="439"/>
                </a:lnTo>
                <a:lnTo>
                  <a:pt x="9231" y="317"/>
                </a:lnTo>
                <a:lnTo>
                  <a:pt x="8963" y="219"/>
                </a:lnTo>
                <a:lnTo>
                  <a:pt x="8695" y="146"/>
                </a:lnTo>
                <a:lnTo>
                  <a:pt x="8403" y="73"/>
                </a:lnTo>
                <a:lnTo>
                  <a:pt x="8135" y="25"/>
                </a:lnTo>
                <a:lnTo>
                  <a:pt x="7843" y="0"/>
                </a:lnTo>
                <a:lnTo>
                  <a:pt x="7551" y="0"/>
                </a:lnTo>
                <a:lnTo>
                  <a:pt x="7551" y="0"/>
                </a:lnTo>
                <a:lnTo>
                  <a:pt x="7088" y="25"/>
                </a:lnTo>
                <a:lnTo>
                  <a:pt x="6650" y="98"/>
                </a:lnTo>
                <a:lnTo>
                  <a:pt x="6211" y="195"/>
                </a:lnTo>
                <a:lnTo>
                  <a:pt x="5797" y="341"/>
                </a:lnTo>
                <a:lnTo>
                  <a:pt x="5407" y="536"/>
                </a:lnTo>
                <a:lnTo>
                  <a:pt x="5042" y="755"/>
                </a:lnTo>
                <a:lnTo>
                  <a:pt x="4701" y="1023"/>
                </a:lnTo>
                <a:lnTo>
                  <a:pt x="4385" y="1315"/>
                </a:lnTo>
                <a:lnTo>
                  <a:pt x="4092" y="1632"/>
                </a:lnTo>
                <a:lnTo>
                  <a:pt x="3824" y="1973"/>
                </a:lnTo>
                <a:lnTo>
                  <a:pt x="3605" y="2338"/>
                </a:lnTo>
                <a:lnTo>
                  <a:pt x="3410" y="2728"/>
                </a:lnTo>
                <a:lnTo>
                  <a:pt x="3264" y="3142"/>
                </a:lnTo>
                <a:lnTo>
                  <a:pt x="3142" y="3580"/>
                </a:lnTo>
                <a:lnTo>
                  <a:pt x="3094" y="4019"/>
                </a:lnTo>
                <a:lnTo>
                  <a:pt x="3069" y="4482"/>
                </a:lnTo>
                <a:lnTo>
                  <a:pt x="3069" y="4482"/>
                </a:lnTo>
                <a:lnTo>
                  <a:pt x="3069" y="4774"/>
                </a:lnTo>
                <a:lnTo>
                  <a:pt x="3021" y="4774"/>
                </a:lnTo>
                <a:lnTo>
                  <a:pt x="3021" y="4774"/>
                </a:lnTo>
                <a:lnTo>
                  <a:pt x="2704" y="4774"/>
                </a:lnTo>
                <a:lnTo>
                  <a:pt x="2412" y="4823"/>
                </a:lnTo>
                <a:lnTo>
                  <a:pt x="2120" y="4896"/>
                </a:lnTo>
                <a:lnTo>
                  <a:pt x="1827" y="5017"/>
                </a:lnTo>
                <a:lnTo>
                  <a:pt x="1584" y="5139"/>
                </a:lnTo>
                <a:lnTo>
                  <a:pt x="1316" y="5285"/>
                </a:lnTo>
                <a:lnTo>
                  <a:pt x="1097" y="5456"/>
                </a:lnTo>
                <a:lnTo>
                  <a:pt x="877" y="5651"/>
                </a:lnTo>
                <a:lnTo>
                  <a:pt x="683" y="5870"/>
                </a:lnTo>
                <a:lnTo>
                  <a:pt x="512" y="6113"/>
                </a:lnTo>
                <a:lnTo>
                  <a:pt x="366" y="6357"/>
                </a:lnTo>
                <a:lnTo>
                  <a:pt x="220" y="6625"/>
                </a:lnTo>
                <a:lnTo>
                  <a:pt x="122" y="6893"/>
                </a:lnTo>
                <a:lnTo>
                  <a:pt x="49" y="7185"/>
                </a:lnTo>
                <a:lnTo>
                  <a:pt x="1" y="7477"/>
                </a:lnTo>
                <a:lnTo>
                  <a:pt x="1" y="7794"/>
                </a:lnTo>
                <a:lnTo>
                  <a:pt x="1" y="7794"/>
                </a:lnTo>
                <a:lnTo>
                  <a:pt x="1" y="8110"/>
                </a:lnTo>
                <a:lnTo>
                  <a:pt x="49" y="8403"/>
                </a:lnTo>
                <a:lnTo>
                  <a:pt x="122" y="8695"/>
                </a:lnTo>
                <a:lnTo>
                  <a:pt x="220" y="8963"/>
                </a:lnTo>
                <a:lnTo>
                  <a:pt x="366" y="9231"/>
                </a:lnTo>
                <a:lnTo>
                  <a:pt x="512" y="9474"/>
                </a:lnTo>
                <a:lnTo>
                  <a:pt x="683" y="9718"/>
                </a:lnTo>
                <a:lnTo>
                  <a:pt x="877" y="9937"/>
                </a:lnTo>
                <a:lnTo>
                  <a:pt x="1097" y="10132"/>
                </a:lnTo>
                <a:lnTo>
                  <a:pt x="1316" y="10302"/>
                </a:lnTo>
                <a:lnTo>
                  <a:pt x="1584" y="10449"/>
                </a:lnTo>
                <a:lnTo>
                  <a:pt x="1827" y="10570"/>
                </a:lnTo>
                <a:lnTo>
                  <a:pt x="2120" y="10692"/>
                </a:lnTo>
                <a:lnTo>
                  <a:pt x="2412" y="10765"/>
                </a:lnTo>
                <a:lnTo>
                  <a:pt x="2704" y="10814"/>
                </a:lnTo>
                <a:lnTo>
                  <a:pt x="3021" y="10814"/>
                </a:lnTo>
                <a:lnTo>
                  <a:pt x="16124" y="10814"/>
                </a:lnTo>
                <a:lnTo>
                  <a:pt x="16124" y="10814"/>
                </a:lnTo>
                <a:lnTo>
                  <a:pt x="16440" y="10814"/>
                </a:lnTo>
                <a:lnTo>
                  <a:pt x="16732" y="10765"/>
                </a:lnTo>
                <a:lnTo>
                  <a:pt x="17025" y="10692"/>
                </a:lnTo>
                <a:lnTo>
                  <a:pt x="17317" y="10570"/>
                </a:lnTo>
                <a:lnTo>
                  <a:pt x="17561" y="10449"/>
                </a:lnTo>
                <a:lnTo>
                  <a:pt x="17828" y="10302"/>
                </a:lnTo>
                <a:lnTo>
                  <a:pt x="18048" y="10132"/>
                </a:lnTo>
                <a:lnTo>
                  <a:pt x="18267" y="9937"/>
                </a:lnTo>
                <a:lnTo>
                  <a:pt x="18462" y="9718"/>
                </a:lnTo>
                <a:lnTo>
                  <a:pt x="18632" y="9474"/>
                </a:lnTo>
                <a:lnTo>
                  <a:pt x="18778" y="9231"/>
                </a:lnTo>
                <a:lnTo>
                  <a:pt x="18924" y="8963"/>
                </a:lnTo>
                <a:lnTo>
                  <a:pt x="19022" y="8695"/>
                </a:lnTo>
                <a:lnTo>
                  <a:pt x="19095" y="8403"/>
                </a:lnTo>
                <a:lnTo>
                  <a:pt x="19144" y="8110"/>
                </a:lnTo>
                <a:lnTo>
                  <a:pt x="19144" y="7794"/>
                </a:lnTo>
                <a:lnTo>
                  <a:pt x="19144" y="7794"/>
                </a:lnTo>
                <a:lnTo>
                  <a:pt x="19144" y="7477"/>
                </a:lnTo>
                <a:lnTo>
                  <a:pt x="19095" y="7185"/>
                </a:lnTo>
                <a:lnTo>
                  <a:pt x="19022" y="6893"/>
                </a:lnTo>
                <a:lnTo>
                  <a:pt x="18924" y="6625"/>
                </a:lnTo>
                <a:lnTo>
                  <a:pt x="18778" y="6357"/>
                </a:lnTo>
                <a:lnTo>
                  <a:pt x="18632" y="6113"/>
                </a:lnTo>
                <a:lnTo>
                  <a:pt x="18462" y="5870"/>
                </a:lnTo>
                <a:lnTo>
                  <a:pt x="18267" y="5651"/>
                </a:lnTo>
                <a:lnTo>
                  <a:pt x="18048" y="5456"/>
                </a:lnTo>
                <a:lnTo>
                  <a:pt x="17828" y="5285"/>
                </a:lnTo>
                <a:lnTo>
                  <a:pt x="17561" y="5139"/>
                </a:lnTo>
                <a:lnTo>
                  <a:pt x="17317" y="5017"/>
                </a:lnTo>
                <a:lnTo>
                  <a:pt x="17025" y="4896"/>
                </a:lnTo>
                <a:lnTo>
                  <a:pt x="16732" y="4823"/>
                </a:lnTo>
                <a:lnTo>
                  <a:pt x="16440" y="4774"/>
                </a:lnTo>
                <a:lnTo>
                  <a:pt x="16124" y="4774"/>
                </a:lnTo>
                <a:lnTo>
                  <a:pt x="16124" y="4774"/>
                </a:lnTo>
                <a:close/>
              </a:path>
            </a:pathLst>
          </a:custGeom>
          <a:noFill/>
          <a:ln w="9525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>
              <a:latin typeface="Calibri Light" panose="020F0302020204030204" pitchFamily="34" charset="0"/>
            </a:endParaRPr>
          </a:p>
        </p:txBody>
      </p:sp>
      <p:grpSp>
        <p:nvGrpSpPr>
          <p:cNvPr id="46" name="Shape 823"/>
          <p:cNvGrpSpPr/>
          <p:nvPr/>
        </p:nvGrpSpPr>
        <p:grpSpPr>
          <a:xfrm>
            <a:off x="3019319" y="3966915"/>
            <a:ext cx="373901" cy="358671"/>
            <a:chOff x="5233525" y="4954450"/>
            <a:chExt cx="538275" cy="516350"/>
          </a:xfrm>
        </p:grpSpPr>
        <p:sp>
          <p:nvSpPr>
            <p:cNvPr id="47" name="Shape 824"/>
            <p:cNvSpPr/>
            <p:nvPr/>
          </p:nvSpPr>
          <p:spPr>
            <a:xfrm>
              <a:off x="5637825" y="4954450"/>
              <a:ext cx="89525" cy="89525"/>
            </a:xfrm>
            <a:custGeom>
              <a:avLst/>
              <a:gdLst/>
              <a:ahLst/>
              <a:cxnLst/>
              <a:rect l="0" t="0" r="0" b="0"/>
              <a:pathLst>
                <a:path w="3581" h="3581" fill="none" extrusionOk="0">
                  <a:moveTo>
                    <a:pt x="1023" y="3410"/>
                  </a:moveTo>
                  <a:lnTo>
                    <a:pt x="1023" y="3410"/>
                  </a:lnTo>
                  <a:lnTo>
                    <a:pt x="1193" y="3483"/>
                  </a:lnTo>
                  <a:lnTo>
                    <a:pt x="1388" y="3532"/>
                  </a:lnTo>
                  <a:lnTo>
                    <a:pt x="1583" y="3556"/>
                  </a:lnTo>
                  <a:lnTo>
                    <a:pt x="1778" y="3581"/>
                  </a:lnTo>
                  <a:lnTo>
                    <a:pt x="1778" y="3581"/>
                  </a:lnTo>
                  <a:lnTo>
                    <a:pt x="1973" y="3556"/>
                  </a:lnTo>
                  <a:lnTo>
                    <a:pt x="2143" y="3532"/>
                  </a:lnTo>
                  <a:lnTo>
                    <a:pt x="2314" y="3508"/>
                  </a:lnTo>
                  <a:lnTo>
                    <a:pt x="2484" y="3435"/>
                  </a:lnTo>
                  <a:lnTo>
                    <a:pt x="2630" y="3361"/>
                  </a:lnTo>
                  <a:lnTo>
                    <a:pt x="2776" y="3264"/>
                  </a:lnTo>
                  <a:lnTo>
                    <a:pt x="2923" y="3167"/>
                  </a:lnTo>
                  <a:lnTo>
                    <a:pt x="3044" y="3045"/>
                  </a:lnTo>
                  <a:lnTo>
                    <a:pt x="3166" y="2923"/>
                  </a:lnTo>
                  <a:lnTo>
                    <a:pt x="3264" y="2801"/>
                  </a:lnTo>
                  <a:lnTo>
                    <a:pt x="3361" y="2631"/>
                  </a:lnTo>
                  <a:lnTo>
                    <a:pt x="3434" y="2485"/>
                  </a:lnTo>
                  <a:lnTo>
                    <a:pt x="3483" y="2314"/>
                  </a:lnTo>
                  <a:lnTo>
                    <a:pt x="3531" y="2144"/>
                  </a:lnTo>
                  <a:lnTo>
                    <a:pt x="3556" y="1973"/>
                  </a:lnTo>
                  <a:lnTo>
                    <a:pt x="3580" y="1803"/>
                  </a:lnTo>
                  <a:lnTo>
                    <a:pt x="3580" y="1803"/>
                  </a:lnTo>
                  <a:lnTo>
                    <a:pt x="3556" y="1608"/>
                  </a:lnTo>
                  <a:lnTo>
                    <a:pt x="3531" y="1437"/>
                  </a:lnTo>
                  <a:lnTo>
                    <a:pt x="3483" y="1267"/>
                  </a:lnTo>
                  <a:lnTo>
                    <a:pt x="3434" y="1096"/>
                  </a:lnTo>
                  <a:lnTo>
                    <a:pt x="3361" y="950"/>
                  </a:lnTo>
                  <a:lnTo>
                    <a:pt x="3264" y="804"/>
                  </a:lnTo>
                  <a:lnTo>
                    <a:pt x="3166" y="658"/>
                  </a:lnTo>
                  <a:lnTo>
                    <a:pt x="3044" y="536"/>
                  </a:lnTo>
                  <a:lnTo>
                    <a:pt x="2923" y="414"/>
                  </a:lnTo>
                  <a:lnTo>
                    <a:pt x="2776" y="317"/>
                  </a:lnTo>
                  <a:lnTo>
                    <a:pt x="2630" y="220"/>
                  </a:lnTo>
                  <a:lnTo>
                    <a:pt x="2484" y="147"/>
                  </a:lnTo>
                  <a:lnTo>
                    <a:pt x="2314" y="98"/>
                  </a:lnTo>
                  <a:lnTo>
                    <a:pt x="2143" y="49"/>
                  </a:lnTo>
                  <a:lnTo>
                    <a:pt x="1973" y="25"/>
                  </a:lnTo>
                  <a:lnTo>
                    <a:pt x="1778" y="0"/>
                  </a:lnTo>
                  <a:lnTo>
                    <a:pt x="1778" y="0"/>
                  </a:lnTo>
                  <a:lnTo>
                    <a:pt x="1607" y="25"/>
                  </a:lnTo>
                  <a:lnTo>
                    <a:pt x="1437" y="49"/>
                  </a:lnTo>
                  <a:lnTo>
                    <a:pt x="1266" y="98"/>
                  </a:lnTo>
                  <a:lnTo>
                    <a:pt x="1096" y="147"/>
                  </a:lnTo>
                  <a:lnTo>
                    <a:pt x="925" y="220"/>
                  </a:lnTo>
                  <a:lnTo>
                    <a:pt x="779" y="317"/>
                  </a:lnTo>
                  <a:lnTo>
                    <a:pt x="658" y="414"/>
                  </a:lnTo>
                  <a:lnTo>
                    <a:pt x="536" y="536"/>
                  </a:lnTo>
                  <a:lnTo>
                    <a:pt x="414" y="658"/>
                  </a:lnTo>
                  <a:lnTo>
                    <a:pt x="317" y="804"/>
                  </a:lnTo>
                  <a:lnTo>
                    <a:pt x="219" y="950"/>
                  </a:lnTo>
                  <a:lnTo>
                    <a:pt x="146" y="1096"/>
                  </a:lnTo>
                  <a:lnTo>
                    <a:pt x="73" y="1267"/>
                  </a:lnTo>
                  <a:lnTo>
                    <a:pt x="49" y="1437"/>
                  </a:lnTo>
                  <a:lnTo>
                    <a:pt x="24" y="1608"/>
                  </a:lnTo>
                  <a:lnTo>
                    <a:pt x="0" y="1803"/>
                  </a:lnTo>
                  <a:lnTo>
                    <a:pt x="0" y="1803"/>
                  </a:lnTo>
                  <a:lnTo>
                    <a:pt x="24" y="2071"/>
                  </a:lnTo>
                  <a:lnTo>
                    <a:pt x="97" y="2339"/>
                  </a:lnTo>
                  <a:lnTo>
                    <a:pt x="195" y="2582"/>
                  </a:lnTo>
                  <a:lnTo>
                    <a:pt x="317" y="2801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48" name="Shape 825"/>
            <p:cNvSpPr/>
            <p:nvPr/>
          </p:nvSpPr>
          <p:spPr>
            <a:xfrm>
              <a:off x="5323025" y="4980625"/>
              <a:ext cx="88925" cy="88925"/>
            </a:xfrm>
            <a:custGeom>
              <a:avLst/>
              <a:gdLst/>
              <a:ahLst/>
              <a:cxnLst/>
              <a:rect l="0" t="0" r="0" b="0"/>
              <a:pathLst>
                <a:path w="3557" h="3557" fill="none" extrusionOk="0">
                  <a:moveTo>
                    <a:pt x="3191" y="2850"/>
                  </a:moveTo>
                  <a:lnTo>
                    <a:pt x="3191" y="2850"/>
                  </a:lnTo>
                  <a:lnTo>
                    <a:pt x="3313" y="2680"/>
                  </a:lnTo>
                  <a:lnTo>
                    <a:pt x="3410" y="2509"/>
                  </a:lnTo>
                  <a:lnTo>
                    <a:pt x="3483" y="2314"/>
                  </a:lnTo>
                  <a:lnTo>
                    <a:pt x="3532" y="2095"/>
                  </a:lnTo>
                  <a:lnTo>
                    <a:pt x="3532" y="2095"/>
                  </a:lnTo>
                  <a:lnTo>
                    <a:pt x="3556" y="1925"/>
                  </a:lnTo>
                  <a:lnTo>
                    <a:pt x="3556" y="1730"/>
                  </a:lnTo>
                  <a:lnTo>
                    <a:pt x="3556" y="1559"/>
                  </a:lnTo>
                  <a:lnTo>
                    <a:pt x="3508" y="1389"/>
                  </a:lnTo>
                  <a:lnTo>
                    <a:pt x="3459" y="1218"/>
                  </a:lnTo>
                  <a:lnTo>
                    <a:pt x="3410" y="1072"/>
                  </a:lnTo>
                  <a:lnTo>
                    <a:pt x="3337" y="902"/>
                  </a:lnTo>
                  <a:lnTo>
                    <a:pt x="3240" y="756"/>
                  </a:lnTo>
                  <a:lnTo>
                    <a:pt x="3142" y="634"/>
                  </a:lnTo>
                  <a:lnTo>
                    <a:pt x="3021" y="512"/>
                  </a:lnTo>
                  <a:lnTo>
                    <a:pt x="2899" y="390"/>
                  </a:lnTo>
                  <a:lnTo>
                    <a:pt x="2753" y="293"/>
                  </a:lnTo>
                  <a:lnTo>
                    <a:pt x="2606" y="196"/>
                  </a:lnTo>
                  <a:lnTo>
                    <a:pt x="2436" y="122"/>
                  </a:lnTo>
                  <a:lnTo>
                    <a:pt x="2266" y="74"/>
                  </a:lnTo>
                  <a:lnTo>
                    <a:pt x="2095" y="25"/>
                  </a:lnTo>
                  <a:lnTo>
                    <a:pt x="2095" y="25"/>
                  </a:lnTo>
                  <a:lnTo>
                    <a:pt x="1925" y="1"/>
                  </a:lnTo>
                  <a:lnTo>
                    <a:pt x="1730" y="1"/>
                  </a:lnTo>
                  <a:lnTo>
                    <a:pt x="1559" y="1"/>
                  </a:lnTo>
                  <a:lnTo>
                    <a:pt x="1389" y="25"/>
                  </a:lnTo>
                  <a:lnTo>
                    <a:pt x="1218" y="74"/>
                  </a:lnTo>
                  <a:lnTo>
                    <a:pt x="1072" y="147"/>
                  </a:lnTo>
                  <a:lnTo>
                    <a:pt x="902" y="220"/>
                  </a:lnTo>
                  <a:lnTo>
                    <a:pt x="756" y="317"/>
                  </a:lnTo>
                  <a:lnTo>
                    <a:pt x="634" y="415"/>
                  </a:lnTo>
                  <a:lnTo>
                    <a:pt x="512" y="537"/>
                  </a:lnTo>
                  <a:lnTo>
                    <a:pt x="390" y="658"/>
                  </a:lnTo>
                  <a:lnTo>
                    <a:pt x="293" y="804"/>
                  </a:lnTo>
                  <a:lnTo>
                    <a:pt x="195" y="951"/>
                  </a:lnTo>
                  <a:lnTo>
                    <a:pt x="122" y="1097"/>
                  </a:lnTo>
                  <a:lnTo>
                    <a:pt x="74" y="1267"/>
                  </a:lnTo>
                  <a:lnTo>
                    <a:pt x="25" y="1462"/>
                  </a:lnTo>
                  <a:lnTo>
                    <a:pt x="25" y="1462"/>
                  </a:lnTo>
                  <a:lnTo>
                    <a:pt x="1" y="1633"/>
                  </a:lnTo>
                  <a:lnTo>
                    <a:pt x="1" y="1803"/>
                  </a:lnTo>
                  <a:lnTo>
                    <a:pt x="1" y="1998"/>
                  </a:lnTo>
                  <a:lnTo>
                    <a:pt x="25" y="2168"/>
                  </a:lnTo>
                  <a:lnTo>
                    <a:pt x="74" y="2339"/>
                  </a:lnTo>
                  <a:lnTo>
                    <a:pt x="147" y="2485"/>
                  </a:lnTo>
                  <a:lnTo>
                    <a:pt x="220" y="2655"/>
                  </a:lnTo>
                  <a:lnTo>
                    <a:pt x="317" y="2777"/>
                  </a:lnTo>
                  <a:lnTo>
                    <a:pt x="415" y="2923"/>
                  </a:lnTo>
                  <a:lnTo>
                    <a:pt x="536" y="3045"/>
                  </a:lnTo>
                  <a:lnTo>
                    <a:pt x="658" y="3167"/>
                  </a:lnTo>
                  <a:lnTo>
                    <a:pt x="804" y="3264"/>
                  </a:lnTo>
                  <a:lnTo>
                    <a:pt x="950" y="3362"/>
                  </a:lnTo>
                  <a:lnTo>
                    <a:pt x="1096" y="3435"/>
                  </a:lnTo>
                  <a:lnTo>
                    <a:pt x="1267" y="3483"/>
                  </a:lnTo>
                  <a:lnTo>
                    <a:pt x="1462" y="3532"/>
                  </a:lnTo>
                  <a:lnTo>
                    <a:pt x="1462" y="3532"/>
                  </a:lnTo>
                  <a:lnTo>
                    <a:pt x="1705" y="3557"/>
                  </a:lnTo>
                  <a:lnTo>
                    <a:pt x="1973" y="3557"/>
                  </a:lnTo>
                  <a:lnTo>
                    <a:pt x="2217" y="3508"/>
                  </a:lnTo>
                  <a:lnTo>
                    <a:pt x="2460" y="3435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49" name="Shape 826"/>
            <p:cNvSpPr/>
            <p:nvPr/>
          </p:nvSpPr>
          <p:spPr>
            <a:xfrm>
              <a:off x="5233525" y="5255225"/>
              <a:ext cx="89525" cy="89525"/>
            </a:xfrm>
            <a:custGeom>
              <a:avLst/>
              <a:gdLst/>
              <a:ahLst/>
              <a:cxnLst/>
              <a:rect l="0" t="0" r="0" b="0"/>
              <a:pathLst>
                <a:path w="3581" h="3581" fill="none" extrusionOk="0">
                  <a:moveTo>
                    <a:pt x="3215" y="707"/>
                  </a:moveTo>
                  <a:lnTo>
                    <a:pt x="3215" y="707"/>
                  </a:lnTo>
                  <a:lnTo>
                    <a:pt x="3093" y="585"/>
                  </a:lnTo>
                  <a:lnTo>
                    <a:pt x="2972" y="464"/>
                  </a:lnTo>
                  <a:lnTo>
                    <a:pt x="2850" y="342"/>
                  </a:lnTo>
                  <a:lnTo>
                    <a:pt x="2679" y="244"/>
                  </a:lnTo>
                  <a:lnTo>
                    <a:pt x="2679" y="244"/>
                  </a:lnTo>
                  <a:lnTo>
                    <a:pt x="2533" y="171"/>
                  </a:lnTo>
                  <a:lnTo>
                    <a:pt x="2363" y="98"/>
                  </a:lnTo>
                  <a:lnTo>
                    <a:pt x="2192" y="50"/>
                  </a:lnTo>
                  <a:lnTo>
                    <a:pt x="2022" y="25"/>
                  </a:lnTo>
                  <a:lnTo>
                    <a:pt x="1851" y="1"/>
                  </a:lnTo>
                  <a:lnTo>
                    <a:pt x="1681" y="25"/>
                  </a:lnTo>
                  <a:lnTo>
                    <a:pt x="1510" y="25"/>
                  </a:lnTo>
                  <a:lnTo>
                    <a:pt x="1340" y="74"/>
                  </a:lnTo>
                  <a:lnTo>
                    <a:pt x="1169" y="123"/>
                  </a:lnTo>
                  <a:lnTo>
                    <a:pt x="1023" y="196"/>
                  </a:lnTo>
                  <a:lnTo>
                    <a:pt x="877" y="269"/>
                  </a:lnTo>
                  <a:lnTo>
                    <a:pt x="731" y="366"/>
                  </a:lnTo>
                  <a:lnTo>
                    <a:pt x="585" y="488"/>
                  </a:lnTo>
                  <a:lnTo>
                    <a:pt x="463" y="610"/>
                  </a:lnTo>
                  <a:lnTo>
                    <a:pt x="341" y="731"/>
                  </a:lnTo>
                  <a:lnTo>
                    <a:pt x="244" y="902"/>
                  </a:lnTo>
                  <a:lnTo>
                    <a:pt x="244" y="902"/>
                  </a:lnTo>
                  <a:lnTo>
                    <a:pt x="171" y="1048"/>
                  </a:lnTo>
                  <a:lnTo>
                    <a:pt x="98" y="1219"/>
                  </a:lnTo>
                  <a:lnTo>
                    <a:pt x="49" y="1389"/>
                  </a:lnTo>
                  <a:lnTo>
                    <a:pt x="25" y="1560"/>
                  </a:lnTo>
                  <a:lnTo>
                    <a:pt x="0" y="1730"/>
                  </a:lnTo>
                  <a:lnTo>
                    <a:pt x="0" y="1900"/>
                  </a:lnTo>
                  <a:lnTo>
                    <a:pt x="25" y="2071"/>
                  </a:lnTo>
                  <a:lnTo>
                    <a:pt x="73" y="2241"/>
                  </a:lnTo>
                  <a:lnTo>
                    <a:pt x="122" y="2412"/>
                  </a:lnTo>
                  <a:lnTo>
                    <a:pt x="195" y="2558"/>
                  </a:lnTo>
                  <a:lnTo>
                    <a:pt x="268" y="2729"/>
                  </a:lnTo>
                  <a:lnTo>
                    <a:pt x="366" y="2850"/>
                  </a:lnTo>
                  <a:lnTo>
                    <a:pt x="463" y="2996"/>
                  </a:lnTo>
                  <a:lnTo>
                    <a:pt x="609" y="3118"/>
                  </a:lnTo>
                  <a:lnTo>
                    <a:pt x="731" y="3240"/>
                  </a:lnTo>
                  <a:lnTo>
                    <a:pt x="901" y="3337"/>
                  </a:lnTo>
                  <a:lnTo>
                    <a:pt x="901" y="3337"/>
                  </a:lnTo>
                  <a:lnTo>
                    <a:pt x="1048" y="3410"/>
                  </a:lnTo>
                  <a:lnTo>
                    <a:pt x="1218" y="3484"/>
                  </a:lnTo>
                  <a:lnTo>
                    <a:pt x="1389" y="3532"/>
                  </a:lnTo>
                  <a:lnTo>
                    <a:pt x="1559" y="3557"/>
                  </a:lnTo>
                  <a:lnTo>
                    <a:pt x="1730" y="3581"/>
                  </a:lnTo>
                  <a:lnTo>
                    <a:pt x="1900" y="3581"/>
                  </a:lnTo>
                  <a:lnTo>
                    <a:pt x="2071" y="3557"/>
                  </a:lnTo>
                  <a:lnTo>
                    <a:pt x="2241" y="3508"/>
                  </a:lnTo>
                  <a:lnTo>
                    <a:pt x="2411" y="3459"/>
                  </a:lnTo>
                  <a:lnTo>
                    <a:pt x="2558" y="3410"/>
                  </a:lnTo>
                  <a:lnTo>
                    <a:pt x="2704" y="3313"/>
                  </a:lnTo>
                  <a:lnTo>
                    <a:pt x="2850" y="3216"/>
                  </a:lnTo>
                  <a:lnTo>
                    <a:pt x="2996" y="3118"/>
                  </a:lnTo>
                  <a:lnTo>
                    <a:pt x="3118" y="2996"/>
                  </a:lnTo>
                  <a:lnTo>
                    <a:pt x="3240" y="2850"/>
                  </a:lnTo>
                  <a:lnTo>
                    <a:pt x="3337" y="2704"/>
                  </a:lnTo>
                  <a:lnTo>
                    <a:pt x="3337" y="2704"/>
                  </a:lnTo>
                  <a:lnTo>
                    <a:pt x="3459" y="2412"/>
                  </a:lnTo>
                  <a:lnTo>
                    <a:pt x="3532" y="2144"/>
                  </a:lnTo>
                  <a:lnTo>
                    <a:pt x="3581" y="1852"/>
                  </a:lnTo>
                  <a:lnTo>
                    <a:pt x="3556" y="1560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50" name="Shape 827"/>
            <p:cNvSpPr/>
            <p:nvPr/>
          </p:nvSpPr>
          <p:spPr>
            <a:xfrm>
              <a:off x="5453325" y="5382475"/>
              <a:ext cx="88925" cy="88325"/>
            </a:xfrm>
            <a:custGeom>
              <a:avLst/>
              <a:gdLst/>
              <a:ahLst/>
              <a:cxnLst/>
              <a:rect l="0" t="0" r="0" b="0"/>
              <a:pathLst>
                <a:path w="3557" h="3533" fill="none" extrusionOk="0">
                  <a:moveTo>
                    <a:pt x="1389" y="1"/>
                  </a:moveTo>
                  <a:lnTo>
                    <a:pt x="1389" y="1"/>
                  </a:lnTo>
                  <a:lnTo>
                    <a:pt x="1194" y="50"/>
                  </a:lnTo>
                  <a:lnTo>
                    <a:pt x="999" y="147"/>
                  </a:lnTo>
                  <a:lnTo>
                    <a:pt x="804" y="245"/>
                  </a:lnTo>
                  <a:lnTo>
                    <a:pt x="634" y="366"/>
                  </a:lnTo>
                  <a:lnTo>
                    <a:pt x="634" y="366"/>
                  </a:lnTo>
                  <a:lnTo>
                    <a:pt x="488" y="488"/>
                  </a:lnTo>
                  <a:lnTo>
                    <a:pt x="390" y="634"/>
                  </a:lnTo>
                  <a:lnTo>
                    <a:pt x="268" y="780"/>
                  </a:lnTo>
                  <a:lnTo>
                    <a:pt x="195" y="926"/>
                  </a:lnTo>
                  <a:lnTo>
                    <a:pt x="122" y="1073"/>
                  </a:lnTo>
                  <a:lnTo>
                    <a:pt x="74" y="1243"/>
                  </a:lnTo>
                  <a:lnTo>
                    <a:pt x="25" y="1414"/>
                  </a:lnTo>
                  <a:lnTo>
                    <a:pt x="0" y="1584"/>
                  </a:lnTo>
                  <a:lnTo>
                    <a:pt x="0" y="1755"/>
                  </a:lnTo>
                  <a:lnTo>
                    <a:pt x="0" y="1925"/>
                  </a:lnTo>
                  <a:lnTo>
                    <a:pt x="25" y="2096"/>
                  </a:lnTo>
                  <a:lnTo>
                    <a:pt x="74" y="2266"/>
                  </a:lnTo>
                  <a:lnTo>
                    <a:pt x="122" y="2412"/>
                  </a:lnTo>
                  <a:lnTo>
                    <a:pt x="195" y="2583"/>
                  </a:lnTo>
                  <a:lnTo>
                    <a:pt x="293" y="2729"/>
                  </a:lnTo>
                  <a:lnTo>
                    <a:pt x="415" y="2875"/>
                  </a:lnTo>
                  <a:lnTo>
                    <a:pt x="415" y="2875"/>
                  </a:lnTo>
                  <a:lnTo>
                    <a:pt x="536" y="3021"/>
                  </a:lnTo>
                  <a:lnTo>
                    <a:pt x="658" y="3143"/>
                  </a:lnTo>
                  <a:lnTo>
                    <a:pt x="804" y="3240"/>
                  </a:lnTo>
                  <a:lnTo>
                    <a:pt x="950" y="3313"/>
                  </a:lnTo>
                  <a:lnTo>
                    <a:pt x="1121" y="3386"/>
                  </a:lnTo>
                  <a:lnTo>
                    <a:pt x="1267" y="3459"/>
                  </a:lnTo>
                  <a:lnTo>
                    <a:pt x="1437" y="3484"/>
                  </a:lnTo>
                  <a:lnTo>
                    <a:pt x="1608" y="3508"/>
                  </a:lnTo>
                  <a:lnTo>
                    <a:pt x="1778" y="3532"/>
                  </a:lnTo>
                  <a:lnTo>
                    <a:pt x="1949" y="3508"/>
                  </a:lnTo>
                  <a:lnTo>
                    <a:pt x="2119" y="3484"/>
                  </a:lnTo>
                  <a:lnTo>
                    <a:pt x="2290" y="3435"/>
                  </a:lnTo>
                  <a:lnTo>
                    <a:pt x="2460" y="3386"/>
                  </a:lnTo>
                  <a:lnTo>
                    <a:pt x="2606" y="3313"/>
                  </a:lnTo>
                  <a:lnTo>
                    <a:pt x="2777" y="3216"/>
                  </a:lnTo>
                  <a:lnTo>
                    <a:pt x="2923" y="3118"/>
                  </a:lnTo>
                  <a:lnTo>
                    <a:pt x="2923" y="3118"/>
                  </a:lnTo>
                  <a:lnTo>
                    <a:pt x="3045" y="2997"/>
                  </a:lnTo>
                  <a:lnTo>
                    <a:pt x="3167" y="2851"/>
                  </a:lnTo>
                  <a:lnTo>
                    <a:pt x="3264" y="2704"/>
                  </a:lnTo>
                  <a:lnTo>
                    <a:pt x="3361" y="2558"/>
                  </a:lnTo>
                  <a:lnTo>
                    <a:pt x="3435" y="2412"/>
                  </a:lnTo>
                  <a:lnTo>
                    <a:pt x="3483" y="2242"/>
                  </a:lnTo>
                  <a:lnTo>
                    <a:pt x="3532" y="2071"/>
                  </a:lnTo>
                  <a:lnTo>
                    <a:pt x="3556" y="1901"/>
                  </a:lnTo>
                  <a:lnTo>
                    <a:pt x="3556" y="1730"/>
                  </a:lnTo>
                  <a:lnTo>
                    <a:pt x="3556" y="1560"/>
                  </a:lnTo>
                  <a:lnTo>
                    <a:pt x="3532" y="1389"/>
                  </a:lnTo>
                  <a:lnTo>
                    <a:pt x="3483" y="1219"/>
                  </a:lnTo>
                  <a:lnTo>
                    <a:pt x="3410" y="1048"/>
                  </a:lnTo>
                  <a:lnTo>
                    <a:pt x="3337" y="902"/>
                  </a:lnTo>
                  <a:lnTo>
                    <a:pt x="3264" y="756"/>
                  </a:lnTo>
                  <a:lnTo>
                    <a:pt x="3142" y="610"/>
                  </a:lnTo>
                  <a:lnTo>
                    <a:pt x="3142" y="610"/>
                  </a:lnTo>
                  <a:lnTo>
                    <a:pt x="2972" y="415"/>
                  </a:lnTo>
                  <a:lnTo>
                    <a:pt x="2753" y="245"/>
                  </a:lnTo>
                  <a:lnTo>
                    <a:pt x="2533" y="123"/>
                  </a:lnTo>
                  <a:lnTo>
                    <a:pt x="2314" y="50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51" name="Shape 828"/>
            <p:cNvSpPr/>
            <p:nvPr/>
          </p:nvSpPr>
          <p:spPr>
            <a:xfrm>
              <a:off x="5682875" y="5188875"/>
              <a:ext cx="88925" cy="89525"/>
            </a:xfrm>
            <a:custGeom>
              <a:avLst/>
              <a:gdLst/>
              <a:ahLst/>
              <a:cxnLst/>
              <a:rect l="0" t="0" r="0" b="0"/>
              <a:pathLst>
                <a:path w="3557" h="3581" fill="none" extrusionOk="0">
                  <a:moveTo>
                    <a:pt x="0" y="2022"/>
                  </a:moveTo>
                  <a:lnTo>
                    <a:pt x="0" y="2022"/>
                  </a:lnTo>
                  <a:lnTo>
                    <a:pt x="25" y="2216"/>
                  </a:lnTo>
                  <a:lnTo>
                    <a:pt x="98" y="2411"/>
                  </a:lnTo>
                  <a:lnTo>
                    <a:pt x="98" y="2411"/>
                  </a:lnTo>
                  <a:lnTo>
                    <a:pt x="171" y="2557"/>
                  </a:lnTo>
                  <a:lnTo>
                    <a:pt x="244" y="2728"/>
                  </a:lnTo>
                  <a:lnTo>
                    <a:pt x="341" y="2874"/>
                  </a:lnTo>
                  <a:lnTo>
                    <a:pt x="463" y="2996"/>
                  </a:lnTo>
                  <a:lnTo>
                    <a:pt x="585" y="3118"/>
                  </a:lnTo>
                  <a:lnTo>
                    <a:pt x="707" y="3239"/>
                  </a:lnTo>
                  <a:lnTo>
                    <a:pt x="853" y="3337"/>
                  </a:lnTo>
                  <a:lnTo>
                    <a:pt x="999" y="3410"/>
                  </a:lnTo>
                  <a:lnTo>
                    <a:pt x="1169" y="3483"/>
                  </a:lnTo>
                  <a:lnTo>
                    <a:pt x="1340" y="3532"/>
                  </a:lnTo>
                  <a:lnTo>
                    <a:pt x="1510" y="3556"/>
                  </a:lnTo>
                  <a:lnTo>
                    <a:pt x="1681" y="3580"/>
                  </a:lnTo>
                  <a:lnTo>
                    <a:pt x="1851" y="3580"/>
                  </a:lnTo>
                  <a:lnTo>
                    <a:pt x="2022" y="3556"/>
                  </a:lnTo>
                  <a:lnTo>
                    <a:pt x="2192" y="3532"/>
                  </a:lnTo>
                  <a:lnTo>
                    <a:pt x="2363" y="3459"/>
                  </a:lnTo>
                  <a:lnTo>
                    <a:pt x="2363" y="3459"/>
                  </a:lnTo>
                  <a:lnTo>
                    <a:pt x="2533" y="3410"/>
                  </a:lnTo>
                  <a:lnTo>
                    <a:pt x="2704" y="3312"/>
                  </a:lnTo>
                  <a:lnTo>
                    <a:pt x="2850" y="3215"/>
                  </a:lnTo>
                  <a:lnTo>
                    <a:pt x="2972" y="3093"/>
                  </a:lnTo>
                  <a:lnTo>
                    <a:pt x="3093" y="2971"/>
                  </a:lnTo>
                  <a:lnTo>
                    <a:pt x="3215" y="2850"/>
                  </a:lnTo>
                  <a:lnTo>
                    <a:pt x="3288" y="2704"/>
                  </a:lnTo>
                  <a:lnTo>
                    <a:pt x="3386" y="2557"/>
                  </a:lnTo>
                  <a:lnTo>
                    <a:pt x="3434" y="2387"/>
                  </a:lnTo>
                  <a:lnTo>
                    <a:pt x="3483" y="2216"/>
                  </a:lnTo>
                  <a:lnTo>
                    <a:pt x="3532" y="2070"/>
                  </a:lnTo>
                  <a:lnTo>
                    <a:pt x="3556" y="1875"/>
                  </a:lnTo>
                  <a:lnTo>
                    <a:pt x="3556" y="1705"/>
                  </a:lnTo>
                  <a:lnTo>
                    <a:pt x="3532" y="1534"/>
                  </a:lnTo>
                  <a:lnTo>
                    <a:pt x="3507" y="1364"/>
                  </a:lnTo>
                  <a:lnTo>
                    <a:pt x="3434" y="1194"/>
                  </a:lnTo>
                  <a:lnTo>
                    <a:pt x="3434" y="1194"/>
                  </a:lnTo>
                  <a:lnTo>
                    <a:pt x="3361" y="1023"/>
                  </a:lnTo>
                  <a:lnTo>
                    <a:pt x="3288" y="853"/>
                  </a:lnTo>
                  <a:lnTo>
                    <a:pt x="3191" y="706"/>
                  </a:lnTo>
                  <a:lnTo>
                    <a:pt x="3069" y="585"/>
                  </a:lnTo>
                  <a:lnTo>
                    <a:pt x="2947" y="463"/>
                  </a:lnTo>
                  <a:lnTo>
                    <a:pt x="2825" y="341"/>
                  </a:lnTo>
                  <a:lnTo>
                    <a:pt x="2679" y="268"/>
                  </a:lnTo>
                  <a:lnTo>
                    <a:pt x="2533" y="171"/>
                  </a:lnTo>
                  <a:lnTo>
                    <a:pt x="2363" y="122"/>
                  </a:lnTo>
                  <a:lnTo>
                    <a:pt x="2192" y="73"/>
                  </a:lnTo>
                  <a:lnTo>
                    <a:pt x="2022" y="24"/>
                  </a:lnTo>
                  <a:lnTo>
                    <a:pt x="1851" y="24"/>
                  </a:lnTo>
                  <a:lnTo>
                    <a:pt x="1681" y="0"/>
                  </a:lnTo>
                  <a:lnTo>
                    <a:pt x="1510" y="24"/>
                  </a:lnTo>
                  <a:lnTo>
                    <a:pt x="1340" y="73"/>
                  </a:lnTo>
                  <a:lnTo>
                    <a:pt x="1169" y="122"/>
                  </a:lnTo>
                  <a:lnTo>
                    <a:pt x="1169" y="122"/>
                  </a:lnTo>
                  <a:lnTo>
                    <a:pt x="974" y="195"/>
                  </a:lnTo>
                  <a:lnTo>
                    <a:pt x="804" y="292"/>
                  </a:lnTo>
                  <a:lnTo>
                    <a:pt x="658" y="390"/>
                  </a:lnTo>
                  <a:lnTo>
                    <a:pt x="512" y="512"/>
                  </a:lnTo>
                  <a:lnTo>
                    <a:pt x="390" y="658"/>
                  </a:lnTo>
                  <a:lnTo>
                    <a:pt x="293" y="804"/>
                  </a:lnTo>
                  <a:lnTo>
                    <a:pt x="195" y="950"/>
                  </a:lnTo>
                  <a:lnTo>
                    <a:pt x="122" y="1120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52" name="Shape 829"/>
            <p:cNvSpPr/>
            <p:nvPr/>
          </p:nvSpPr>
          <p:spPr>
            <a:xfrm>
              <a:off x="5411925" y="5110925"/>
              <a:ext cx="188775" cy="189400"/>
            </a:xfrm>
            <a:custGeom>
              <a:avLst/>
              <a:gdLst/>
              <a:ahLst/>
              <a:cxnLst/>
              <a:rect l="0" t="0" r="0" b="0"/>
              <a:pathLst>
                <a:path w="7551" h="7576" fill="none" extrusionOk="0">
                  <a:moveTo>
                    <a:pt x="0" y="3776"/>
                  </a:moveTo>
                  <a:lnTo>
                    <a:pt x="0" y="3776"/>
                  </a:lnTo>
                  <a:lnTo>
                    <a:pt x="25" y="3410"/>
                  </a:lnTo>
                  <a:lnTo>
                    <a:pt x="73" y="3021"/>
                  </a:lnTo>
                  <a:lnTo>
                    <a:pt x="171" y="2655"/>
                  </a:lnTo>
                  <a:lnTo>
                    <a:pt x="293" y="2314"/>
                  </a:lnTo>
                  <a:lnTo>
                    <a:pt x="463" y="1973"/>
                  </a:lnTo>
                  <a:lnTo>
                    <a:pt x="658" y="1681"/>
                  </a:lnTo>
                  <a:lnTo>
                    <a:pt x="877" y="1389"/>
                  </a:lnTo>
                  <a:lnTo>
                    <a:pt x="1121" y="1121"/>
                  </a:lnTo>
                  <a:lnTo>
                    <a:pt x="1389" y="877"/>
                  </a:lnTo>
                  <a:lnTo>
                    <a:pt x="1656" y="658"/>
                  </a:lnTo>
                  <a:lnTo>
                    <a:pt x="1973" y="463"/>
                  </a:lnTo>
                  <a:lnTo>
                    <a:pt x="2314" y="293"/>
                  </a:lnTo>
                  <a:lnTo>
                    <a:pt x="2655" y="171"/>
                  </a:lnTo>
                  <a:lnTo>
                    <a:pt x="3020" y="74"/>
                  </a:lnTo>
                  <a:lnTo>
                    <a:pt x="3386" y="25"/>
                  </a:lnTo>
                  <a:lnTo>
                    <a:pt x="3775" y="1"/>
                  </a:lnTo>
                  <a:lnTo>
                    <a:pt x="3775" y="1"/>
                  </a:lnTo>
                  <a:lnTo>
                    <a:pt x="4165" y="25"/>
                  </a:lnTo>
                  <a:lnTo>
                    <a:pt x="4555" y="74"/>
                  </a:lnTo>
                  <a:lnTo>
                    <a:pt x="4896" y="171"/>
                  </a:lnTo>
                  <a:lnTo>
                    <a:pt x="5261" y="293"/>
                  </a:lnTo>
                  <a:lnTo>
                    <a:pt x="5578" y="463"/>
                  </a:lnTo>
                  <a:lnTo>
                    <a:pt x="5894" y="658"/>
                  </a:lnTo>
                  <a:lnTo>
                    <a:pt x="6186" y="877"/>
                  </a:lnTo>
                  <a:lnTo>
                    <a:pt x="6454" y="1121"/>
                  </a:lnTo>
                  <a:lnTo>
                    <a:pt x="6698" y="1389"/>
                  </a:lnTo>
                  <a:lnTo>
                    <a:pt x="6917" y="1681"/>
                  </a:lnTo>
                  <a:lnTo>
                    <a:pt x="7112" y="1973"/>
                  </a:lnTo>
                  <a:lnTo>
                    <a:pt x="7258" y="2314"/>
                  </a:lnTo>
                  <a:lnTo>
                    <a:pt x="7404" y="2655"/>
                  </a:lnTo>
                  <a:lnTo>
                    <a:pt x="7477" y="3021"/>
                  </a:lnTo>
                  <a:lnTo>
                    <a:pt x="7550" y="3410"/>
                  </a:lnTo>
                  <a:lnTo>
                    <a:pt x="7550" y="3776"/>
                  </a:lnTo>
                  <a:lnTo>
                    <a:pt x="7550" y="3776"/>
                  </a:lnTo>
                  <a:lnTo>
                    <a:pt x="7550" y="4165"/>
                  </a:lnTo>
                  <a:lnTo>
                    <a:pt x="7477" y="4555"/>
                  </a:lnTo>
                  <a:lnTo>
                    <a:pt x="7404" y="4920"/>
                  </a:lnTo>
                  <a:lnTo>
                    <a:pt x="7258" y="5261"/>
                  </a:lnTo>
                  <a:lnTo>
                    <a:pt x="7112" y="5578"/>
                  </a:lnTo>
                  <a:lnTo>
                    <a:pt x="6917" y="5895"/>
                  </a:lnTo>
                  <a:lnTo>
                    <a:pt x="6698" y="6187"/>
                  </a:lnTo>
                  <a:lnTo>
                    <a:pt x="6454" y="6455"/>
                  </a:lnTo>
                  <a:lnTo>
                    <a:pt x="6186" y="6698"/>
                  </a:lnTo>
                  <a:lnTo>
                    <a:pt x="5894" y="6917"/>
                  </a:lnTo>
                  <a:lnTo>
                    <a:pt x="5578" y="7112"/>
                  </a:lnTo>
                  <a:lnTo>
                    <a:pt x="5261" y="7258"/>
                  </a:lnTo>
                  <a:lnTo>
                    <a:pt x="4896" y="7405"/>
                  </a:lnTo>
                  <a:lnTo>
                    <a:pt x="4555" y="7478"/>
                  </a:lnTo>
                  <a:lnTo>
                    <a:pt x="4165" y="7551"/>
                  </a:lnTo>
                  <a:lnTo>
                    <a:pt x="3775" y="7575"/>
                  </a:lnTo>
                  <a:lnTo>
                    <a:pt x="3775" y="7575"/>
                  </a:lnTo>
                  <a:lnTo>
                    <a:pt x="3386" y="7551"/>
                  </a:lnTo>
                  <a:lnTo>
                    <a:pt x="3020" y="7478"/>
                  </a:lnTo>
                  <a:lnTo>
                    <a:pt x="2655" y="7405"/>
                  </a:lnTo>
                  <a:lnTo>
                    <a:pt x="2314" y="7258"/>
                  </a:lnTo>
                  <a:lnTo>
                    <a:pt x="1973" y="7112"/>
                  </a:lnTo>
                  <a:lnTo>
                    <a:pt x="1656" y="6917"/>
                  </a:lnTo>
                  <a:lnTo>
                    <a:pt x="1389" y="6698"/>
                  </a:lnTo>
                  <a:lnTo>
                    <a:pt x="1121" y="6455"/>
                  </a:lnTo>
                  <a:lnTo>
                    <a:pt x="877" y="6187"/>
                  </a:lnTo>
                  <a:lnTo>
                    <a:pt x="658" y="5895"/>
                  </a:lnTo>
                  <a:lnTo>
                    <a:pt x="463" y="5578"/>
                  </a:lnTo>
                  <a:lnTo>
                    <a:pt x="293" y="5261"/>
                  </a:lnTo>
                  <a:lnTo>
                    <a:pt x="171" y="4920"/>
                  </a:lnTo>
                  <a:lnTo>
                    <a:pt x="73" y="4555"/>
                  </a:lnTo>
                  <a:lnTo>
                    <a:pt x="25" y="4165"/>
                  </a:lnTo>
                  <a:lnTo>
                    <a:pt x="0" y="3776"/>
                  </a:lnTo>
                  <a:lnTo>
                    <a:pt x="0" y="3776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53" name="Shape 830"/>
            <p:cNvSpPr/>
            <p:nvPr/>
          </p:nvSpPr>
          <p:spPr>
            <a:xfrm>
              <a:off x="5367475" y="5025075"/>
              <a:ext cx="81600" cy="105975"/>
            </a:xfrm>
            <a:custGeom>
              <a:avLst/>
              <a:gdLst/>
              <a:ahLst/>
              <a:cxnLst/>
              <a:rect l="0" t="0" r="0" b="0"/>
              <a:pathLst>
                <a:path w="3264" h="4239" fill="none" extrusionOk="0">
                  <a:moveTo>
                    <a:pt x="0" y="1"/>
                  </a:moveTo>
                  <a:lnTo>
                    <a:pt x="3264" y="4238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54" name="Shape 831"/>
            <p:cNvSpPr/>
            <p:nvPr/>
          </p:nvSpPr>
          <p:spPr>
            <a:xfrm>
              <a:off x="5567800" y="4999500"/>
              <a:ext cx="115100" cy="133975"/>
            </a:xfrm>
            <a:custGeom>
              <a:avLst/>
              <a:gdLst/>
              <a:ahLst/>
              <a:cxnLst/>
              <a:rect l="0" t="0" r="0" b="0"/>
              <a:pathLst>
                <a:path w="4604" h="5359" fill="none" extrusionOk="0">
                  <a:moveTo>
                    <a:pt x="0" y="5359"/>
                  </a:moveTo>
                  <a:lnTo>
                    <a:pt x="4603" y="1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55" name="Shape 832"/>
            <p:cNvSpPr/>
            <p:nvPr/>
          </p:nvSpPr>
          <p:spPr>
            <a:xfrm>
              <a:off x="5600075" y="5217475"/>
              <a:ext cx="127275" cy="16475"/>
            </a:xfrm>
            <a:custGeom>
              <a:avLst/>
              <a:gdLst/>
              <a:ahLst/>
              <a:cxnLst/>
              <a:rect l="0" t="0" r="0" b="0"/>
              <a:pathLst>
                <a:path w="5091" h="659" fill="none" extrusionOk="0">
                  <a:moveTo>
                    <a:pt x="5090" y="658"/>
                  </a:moveTo>
                  <a:lnTo>
                    <a:pt x="0" y="1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56" name="Shape 833"/>
            <p:cNvSpPr/>
            <p:nvPr/>
          </p:nvSpPr>
          <p:spPr>
            <a:xfrm>
              <a:off x="5497775" y="5299675"/>
              <a:ext cx="4900" cy="126675"/>
            </a:xfrm>
            <a:custGeom>
              <a:avLst/>
              <a:gdLst/>
              <a:ahLst/>
              <a:cxnLst/>
              <a:rect l="0" t="0" r="0" b="0"/>
              <a:pathLst>
                <a:path w="196" h="5067" fill="none" extrusionOk="0">
                  <a:moveTo>
                    <a:pt x="0" y="5067"/>
                  </a:moveTo>
                  <a:lnTo>
                    <a:pt x="195" y="1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57" name="Shape 834"/>
            <p:cNvSpPr/>
            <p:nvPr/>
          </p:nvSpPr>
          <p:spPr>
            <a:xfrm>
              <a:off x="5277975" y="5241825"/>
              <a:ext cx="141275" cy="58500"/>
            </a:xfrm>
            <a:custGeom>
              <a:avLst/>
              <a:gdLst/>
              <a:ahLst/>
              <a:cxnLst/>
              <a:rect l="0" t="0" r="0" b="0"/>
              <a:pathLst>
                <a:path w="5651" h="2340" fill="none" extrusionOk="0">
                  <a:moveTo>
                    <a:pt x="0" y="2339"/>
                  </a:moveTo>
                  <a:lnTo>
                    <a:pt x="5651" y="1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</p:grpSp>
      <p:cxnSp>
        <p:nvCxnSpPr>
          <p:cNvPr id="101" name="Elbow Connector 100"/>
          <p:cNvCxnSpPr>
            <a:stCxn id="17" idx="6"/>
            <a:endCxn id="18" idx="1"/>
          </p:cNvCxnSpPr>
          <p:nvPr/>
        </p:nvCxnSpPr>
        <p:spPr>
          <a:xfrm flipV="1">
            <a:off x="2188214" y="1088997"/>
            <a:ext cx="684382" cy="1469819"/>
          </a:xfrm>
          <a:prstGeom prst="bentConnector3">
            <a:avLst/>
          </a:prstGeom>
          <a:ln>
            <a:solidFill>
              <a:srgbClr val="4FCE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Elbow Connector 101"/>
          <p:cNvCxnSpPr>
            <a:stCxn id="17" idx="6"/>
            <a:endCxn id="93" idx="1"/>
          </p:cNvCxnSpPr>
          <p:nvPr/>
        </p:nvCxnSpPr>
        <p:spPr>
          <a:xfrm>
            <a:off x="2188214" y="2558816"/>
            <a:ext cx="697366" cy="1567547"/>
          </a:xfrm>
          <a:prstGeom prst="bentConnector3">
            <a:avLst>
              <a:gd name="adj1" fmla="val 50000"/>
            </a:avLst>
          </a:prstGeom>
          <a:ln>
            <a:solidFill>
              <a:srgbClr val="4FCE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tangle 104"/>
          <p:cNvSpPr/>
          <p:nvPr/>
        </p:nvSpPr>
        <p:spPr>
          <a:xfrm>
            <a:off x="460654" y="1162942"/>
            <a:ext cx="1712612" cy="30060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buSzPct val="100000"/>
              <a:buFont typeface="Lora"/>
            </a:pPr>
            <a:r>
              <a:rPr lang="ru-RU" sz="1800" b="1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Почему мы?</a:t>
            </a:r>
          </a:p>
        </p:txBody>
      </p:sp>
      <p:sp>
        <p:nvSpPr>
          <p:cNvPr id="106" name="Rectangle 105"/>
          <p:cNvSpPr/>
          <p:nvPr/>
        </p:nvSpPr>
        <p:spPr>
          <a:xfrm>
            <a:off x="460654" y="2408511"/>
            <a:ext cx="1712612" cy="30060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buSzPct val="100000"/>
              <a:buFont typeface="Lora"/>
            </a:pP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Ваш логотип</a:t>
            </a:r>
          </a:p>
        </p:txBody>
      </p:sp>
    </p:spTree>
    <p:extLst>
      <p:ext uri="{BB962C8B-B14F-4D97-AF65-F5344CB8AC3E}">
        <p14:creationId xmlns:p14="http://schemas.microsoft.com/office/powerpoint/2010/main" val="38042110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7439774"/>
              </p:ext>
            </p:extLst>
          </p:nvPr>
        </p:nvGraphicFramePr>
        <p:xfrm>
          <a:off x="199405" y="1497"/>
          <a:ext cx="1495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405" y="1497"/>
                        <a:ext cx="1495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207845" y="220406"/>
            <a:ext cx="5988848" cy="40011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</a:pPr>
            <a:r>
              <a:rPr lang="ru-RU" sz="1800" b="1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МОНЕТИЗАЦИЯ</a:t>
            </a:r>
          </a:p>
          <a:p>
            <a:pPr>
              <a:buSzPct val="100000"/>
            </a:pPr>
            <a:r>
              <a:rPr lang="ru-RU" sz="12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как будем зарабатывать?</a:t>
            </a:r>
          </a:p>
        </p:txBody>
      </p:sp>
      <p:sp>
        <p:nvSpPr>
          <p:cNvPr id="60" name="Rectangle 59"/>
          <p:cNvSpPr/>
          <p:nvPr/>
        </p:nvSpPr>
        <p:spPr>
          <a:xfrm>
            <a:off x="4143855" y="270157"/>
            <a:ext cx="2714146" cy="30060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Сбор и продажа статистики $30 в месяц</a:t>
            </a:r>
          </a:p>
        </p:txBody>
      </p:sp>
      <p:sp>
        <p:nvSpPr>
          <p:cNvPr id="61" name="Rectangle 60"/>
          <p:cNvSpPr/>
          <p:nvPr/>
        </p:nvSpPr>
        <p:spPr>
          <a:xfrm>
            <a:off x="1854291" y="1096780"/>
            <a:ext cx="3123184" cy="3006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buSzPct val="100000"/>
              <a:buFont typeface="Lora"/>
            </a:pPr>
            <a:r>
              <a:rPr lang="ru-RU" b="1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Ежемесячная платная подписка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544" r="20458" b="29419"/>
          <a:stretch/>
        </p:blipFill>
        <p:spPr>
          <a:xfrm>
            <a:off x="2070" y="1599943"/>
            <a:ext cx="5451674" cy="1698172"/>
          </a:xfrm>
          <a:prstGeom prst="rect">
            <a:avLst/>
          </a:prstGeom>
        </p:spPr>
      </p:pic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0412" r="20458" b="12574"/>
          <a:stretch/>
        </p:blipFill>
        <p:spPr>
          <a:xfrm>
            <a:off x="2070" y="3289950"/>
            <a:ext cx="5451674" cy="824593"/>
          </a:xfrm>
          <a:prstGeom prst="rect">
            <a:avLst/>
          </a:prstGeom>
        </p:spPr>
      </p:pic>
      <p:pic>
        <p:nvPicPr>
          <p:cNvPr id="67" name="Picture 66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10" t="35544" r="3751" b="29419"/>
          <a:stretch/>
        </p:blipFill>
        <p:spPr>
          <a:xfrm>
            <a:off x="5453744" y="1599943"/>
            <a:ext cx="1126671" cy="1698172"/>
          </a:xfrm>
          <a:prstGeom prst="rect">
            <a:avLst/>
          </a:prstGeom>
        </p:spPr>
      </p:pic>
      <p:pic>
        <p:nvPicPr>
          <p:cNvPr id="68" name="Picture 67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10" t="70581" r="3751" b="11058"/>
          <a:stretch/>
        </p:blipFill>
        <p:spPr>
          <a:xfrm>
            <a:off x="5453744" y="3298116"/>
            <a:ext cx="1126671" cy="889906"/>
          </a:xfrm>
          <a:prstGeom prst="rect">
            <a:avLst/>
          </a:prstGeom>
        </p:spPr>
      </p:pic>
      <p:sp>
        <p:nvSpPr>
          <p:cNvPr id="69" name="Прямоугольник 4"/>
          <p:cNvSpPr/>
          <p:nvPr/>
        </p:nvSpPr>
        <p:spPr>
          <a:xfrm>
            <a:off x="480989" y="2142063"/>
            <a:ext cx="151787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b="1" dirty="0">
                <a:latin typeface="Calibri Light" panose="020F0302020204030204" pitchFamily="34" charset="0"/>
                <a:cs typeface="Lora" panose="020B0604020202020204" charset="0"/>
              </a:rPr>
              <a:t>Тариф</a:t>
            </a:r>
          </a:p>
        </p:txBody>
      </p:sp>
      <p:sp>
        <p:nvSpPr>
          <p:cNvPr id="70" name="Прямоугольник 4"/>
          <p:cNvSpPr/>
          <p:nvPr/>
        </p:nvSpPr>
        <p:spPr>
          <a:xfrm>
            <a:off x="425875" y="3561294"/>
            <a:ext cx="1628102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sz="1200" b="1" dirty="0">
                <a:latin typeface="Calibri Light" panose="020F0302020204030204" pitchFamily="34" charset="0"/>
                <a:cs typeface="Lora" panose="020B0604020202020204" charset="0"/>
              </a:rPr>
              <a:t>Стоимость за 1 аккаунт</a:t>
            </a:r>
          </a:p>
        </p:txBody>
      </p:sp>
      <p:sp>
        <p:nvSpPr>
          <p:cNvPr id="71" name="Прямоугольник 4"/>
          <p:cNvSpPr/>
          <p:nvPr/>
        </p:nvSpPr>
        <p:spPr>
          <a:xfrm>
            <a:off x="2242047" y="3545486"/>
            <a:ext cx="119402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100" b="1" dirty="0">
                <a:latin typeface="Calibri Light" panose="020F0302020204030204" pitchFamily="34" charset="0"/>
                <a:cs typeface="Lora" panose="020B0604020202020204" charset="0"/>
                <a:sym typeface="Lora"/>
              </a:rPr>
              <a:t>0 $ / </a:t>
            </a:r>
            <a:r>
              <a:rPr lang="ru-RU" sz="1100" b="1" dirty="0">
                <a:latin typeface="Calibri Light" panose="020F0302020204030204" pitchFamily="34" charset="0"/>
                <a:cs typeface="Lora" panose="020B0604020202020204" charset="0"/>
                <a:sym typeface="Lora"/>
              </a:rPr>
              <a:t>мес.</a:t>
            </a:r>
          </a:p>
        </p:txBody>
      </p:sp>
      <p:sp>
        <p:nvSpPr>
          <p:cNvPr id="74" name="Прямоугольник 4"/>
          <p:cNvSpPr/>
          <p:nvPr/>
        </p:nvSpPr>
        <p:spPr>
          <a:xfrm>
            <a:off x="3191775" y="3545487"/>
            <a:ext cx="130674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sz="1100" b="1" dirty="0">
                <a:latin typeface="Calibri Light" panose="020F0302020204030204" pitchFamily="34" charset="0"/>
                <a:cs typeface="Lora" panose="020B0604020202020204" charset="0"/>
              </a:rPr>
              <a:t>1540</a:t>
            </a:r>
            <a:r>
              <a:rPr lang="en-US" sz="1100" b="1" dirty="0">
                <a:latin typeface="Calibri Light" panose="020F0302020204030204" pitchFamily="34" charset="0"/>
                <a:cs typeface="Lora" panose="020B0604020202020204" charset="0"/>
              </a:rPr>
              <a:t> $ / </a:t>
            </a:r>
            <a:r>
              <a:rPr lang="ru-RU" sz="1100" b="1" dirty="0">
                <a:latin typeface="Calibri Light" panose="020F0302020204030204" pitchFamily="34" charset="0"/>
                <a:cs typeface="Lora" panose="020B0604020202020204" charset="0"/>
              </a:rPr>
              <a:t>мес.</a:t>
            </a:r>
          </a:p>
        </p:txBody>
      </p:sp>
      <p:sp>
        <p:nvSpPr>
          <p:cNvPr id="75" name="Прямоугольник 4"/>
          <p:cNvSpPr/>
          <p:nvPr/>
        </p:nvSpPr>
        <p:spPr>
          <a:xfrm>
            <a:off x="4287296" y="3545487"/>
            <a:ext cx="126651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sz="1100" b="1" dirty="0">
                <a:latin typeface="Calibri Light" panose="020F0302020204030204" pitchFamily="34" charset="0"/>
                <a:cs typeface="Lora" panose="020B0604020202020204" charset="0"/>
              </a:rPr>
              <a:t>7000</a:t>
            </a:r>
            <a:r>
              <a:rPr lang="en-US" sz="1100" b="1" dirty="0">
                <a:latin typeface="Calibri Light" panose="020F0302020204030204" pitchFamily="34" charset="0"/>
                <a:cs typeface="Lora" panose="020B0604020202020204" charset="0"/>
              </a:rPr>
              <a:t> $ / </a:t>
            </a:r>
            <a:r>
              <a:rPr lang="ru-RU" sz="1100" b="1" dirty="0">
                <a:latin typeface="Calibri Light" panose="020F0302020204030204" pitchFamily="34" charset="0"/>
                <a:cs typeface="Lora" panose="020B0604020202020204" charset="0"/>
              </a:rPr>
              <a:t>мес.</a:t>
            </a:r>
          </a:p>
        </p:txBody>
      </p:sp>
      <p:sp>
        <p:nvSpPr>
          <p:cNvPr id="76" name="Прямоугольник 4"/>
          <p:cNvSpPr/>
          <p:nvPr/>
        </p:nvSpPr>
        <p:spPr>
          <a:xfrm>
            <a:off x="5333785" y="3545487"/>
            <a:ext cx="126651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sz="1100" dirty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∞</a:t>
            </a:r>
            <a:r>
              <a:rPr lang="en-US" sz="1100" b="1" dirty="0">
                <a:latin typeface="Calibri Light" panose="020F0302020204030204" pitchFamily="34" charset="0"/>
                <a:cs typeface="Lora" panose="020B0604020202020204" charset="0"/>
              </a:rPr>
              <a:t> $ / </a:t>
            </a:r>
            <a:r>
              <a:rPr lang="ru-RU" sz="1100" b="1" dirty="0">
                <a:latin typeface="Calibri Light" panose="020F0302020204030204" pitchFamily="34" charset="0"/>
                <a:cs typeface="Lora" panose="020B0604020202020204" charset="0"/>
              </a:rPr>
              <a:t>мес.</a:t>
            </a:r>
          </a:p>
        </p:txBody>
      </p:sp>
      <p:sp>
        <p:nvSpPr>
          <p:cNvPr id="77" name="Прямоугольник 4"/>
          <p:cNvSpPr/>
          <p:nvPr/>
        </p:nvSpPr>
        <p:spPr>
          <a:xfrm>
            <a:off x="2080120" y="2142063"/>
            <a:ext cx="151787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b="1" dirty="0">
                <a:latin typeface="Calibri Light" panose="020F0302020204030204" pitchFamily="34" charset="0"/>
                <a:cs typeface="Lora" panose="020B0604020202020204" charset="0"/>
              </a:rPr>
              <a:t>Пробный</a:t>
            </a:r>
          </a:p>
        </p:txBody>
      </p:sp>
      <p:sp>
        <p:nvSpPr>
          <p:cNvPr id="78" name="Прямоугольник 4"/>
          <p:cNvSpPr/>
          <p:nvPr/>
        </p:nvSpPr>
        <p:spPr>
          <a:xfrm>
            <a:off x="3086212" y="2142063"/>
            <a:ext cx="151787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b="1" dirty="0">
                <a:latin typeface="Calibri Light" panose="020F0302020204030204" pitchFamily="34" charset="0"/>
                <a:cs typeface="Lora" panose="020B0604020202020204" charset="0"/>
              </a:rPr>
              <a:t>Новичок</a:t>
            </a:r>
          </a:p>
        </p:txBody>
      </p:sp>
      <p:sp>
        <p:nvSpPr>
          <p:cNvPr id="81" name="Прямоугольник 4"/>
          <p:cNvSpPr/>
          <p:nvPr/>
        </p:nvSpPr>
        <p:spPr>
          <a:xfrm>
            <a:off x="4161618" y="2142063"/>
            <a:ext cx="151787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b="1" dirty="0">
                <a:latin typeface="Calibri Light" panose="020F0302020204030204" pitchFamily="34" charset="0"/>
                <a:cs typeface="Lora" panose="020B0604020202020204" charset="0"/>
              </a:rPr>
              <a:t>Любитель</a:t>
            </a:r>
          </a:p>
        </p:txBody>
      </p:sp>
      <p:sp>
        <p:nvSpPr>
          <p:cNvPr id="82" name="Прямоугольник 4"/>
          <p:cNvSpPr/>
          <p:nvPr/>
        </p:nvSpPr>
        <p:spPr>
          <a:xfrm>
            <a:off x="5208107" y="2142063"/>
            <a:ext cx="151787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b="1" dirty="0">
                <a:latin typeface="Calibri Light" panose="020F0302020204030204" pitchFamily="34" charset="0"/>
                <a:cs typeface="Lora" panose="020B0604020202020204" charset="0"/>
              </a:rPr>
              <a:t>Профи</a:t>
            </a:r>
          </a:p>
        </p:txBody>
      </p:sp>
      <p:sp>
        <p:nvSpPr>
          <p:cNvPr id="83" name="Прямоугольник 4"/>
          <p:cNvSpPr/>
          <p:nvPr/>
        </p:nvSpPr>
        <p:spPr>
          <a:xfrm>
            <a:off x="425875" y="2619391"/>
            <a:ext cx="1628102" cy="646331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sz="1200" b="1" dirty="0">
                <a:latin typeface="Calibri Light" panose="020F0302020204030204" pitchFamily="34" charset="0"/>
                <a:cs typeface="Lora" panose="020B0604020202020204" charset="0"/>
              </a:rPr>
              <a:t>Количество подключённых школ одним интегратором</a:t>
            </a:r>
          </a:p>
        </p:txBody>
      </p:sp>
      <p:sp>
        <p:nvSpPr>
          <p:cNvPr id="84" name="Прямоугольник 4"/>
          <p:cNvSpPr/>
          <p:nvPr/>
        </p:nvSpPr>
        <p:spPr>
          <a:xfrm>
            <a:off x="2242047" y="2795944"/>
            <a:ext cx="1194021" cy="26161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sz="1100" dirty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1</a:t>
            </a:r>
          </a:p>
        </p:txBody>
      </p:sp>
      <p:sp>
        <p:nvSpPr>
          <p:cNvPr id="85" name="Прямоугольник 4"/>
          <p:cNvSpPr/>
          <p:nvPr/>
        </p:nvSpPr>
        <p:spPr>
          <a:xfrm>
            <a:off x="3248139" y="2795944"/>
            <a:ext cx="1194021" cy="26161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100" dirty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10</a:t>
            </a:r>
            <a:endParaRPr lang="ru-RU" sz="1100" dirty="0">
              <a:solidFill>
                <a:schemeClr val="tx1"/>
              </a:solidFill>
              <a:latin typeface="Calibri Light" panose="020F0302020204030204" pitchFamily="34" charset="0"/>
              <a:cs typeface="Lora" panose="020B0604020202020204" charset="0"/>
            </a:endParaRPr>
          </a:p>
        </p:txBody>
      </p:sp>
      <p:sp>
        <p:nvSpPr>
          <p:cNvPr id="87" name="Прямоугольник 4"/>
          <p:cNvSpPr/>
          <p:nvPr/>
        </p:nvSpPr>
        <p:spPr>
          <a:xfrm>
            <a:off x="4287296" y="2795944"/>
            <a:ext cx="1266519" cy="26161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sz="1100" dirty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5</a:t>
            </a:r>
            <a:r>
              <a:rPr lang="en-US" sz="1100" dirty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0</a:t>
            </a:r>
            <a:endParaRPr lang="ru-RU" sz="1100" dirty="0">
              <a:solidFill>
                <a:schemeClr val="tx1"/>
              </a:solidFill>
              <a:latin typeface="Calibri Light" panose="020F0302020204030204" pitchFamily="34" charset="0"/>
              <a:cs typeface="Lora" panose="020B0604020202020204" charset="0"/>
            </a:endParaRPr>
          </a:p>
        </p:txBody>
      </p:sp>
      <p:sp>
        <p:nvSpPr>
          <p:cNvPr id="88" name="Прямоугольник 4"/>
          <p:cNvSpPr/>
          <p:nvPr/>
        </p:nvSpPr>
        <p:spPr>
          <a:xfrm>
            <a:off x="5333785" y="2795944"/>
            <a:ext cx="1266519" cy="26161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sz="1100" dirty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∞</a:t>
            </a:r>
          </a:p>
        </p:txBody>
      </p:sp>
      <p:grpSp>
        <p:nvGrpSpPr>
          <p:cNvPr id="89" name="Shape 788"/>
          <p:cNvGrpSpPr/>
          <p:nvPr/>
        </p:nvGrpSpPr>
        <p:grpSpPr>
          <a:xfrm>
            <a:off x="2689360" y="1829312"/>
            <a:ext cx="300305" cy="182739"/>
            <a:chOff x="3269900" y="3064500"/>
            <a:chExt cx="432325" cy="263075"/>
          </a:xfrm>
          <a:solidFill>
            <a:srgbClr val="FFCD00"/>
          </a:solidFill>
        </p:grpSpPr>
        <p:sp>
          <p:nvSpPr>
            <p:cNvPr id="90" name="Shape 789"/>
            <p:cNvSpPr/>
            <p:nvPr/>
          </p:nvSpPr>
          <p:spPr>
            <a:xfrm>
              <a:off x="3269900" y="3064500"/>
              <a:ext cx="432325" cy="263075"/>
            </a:xfrm>
            <a:custGeom>
              <a:avLst/>
              <a:gdLst/>
              <a:ahLst/>
              <a:cxnLst/>
              <a:rect l="0" t="0" r="0" b="0"/>
              <a:pathLst>
                <a:path w="17293" h="10523" fill="none" extrusionOk="0">
                  <a:moveTo>
                    <a:pt x="14711" y="7916"/>
                  </a:moveTo>
                  <a:lnTo>
                    <a:pt x="14711" y="7916"/>
                  </a:lnTo>
                  <a:lnTo>
                    <a:pt x="14151" y="8379"/>
                  </a:lnTo>
                  <a:lnTo>
                    <a:pt x="13493" y="8842"/>
                  </a:lnTo>
                  <a:lnTo>
                    <a:pt x="12811" y="9280"/>
                  </a:lnTo>
                  <a:lnTo>
                    <a:pt x="12446" y="9475"/>
                  </a:lnTo>
                  <a:lnTo>
                    <a:pt x="12056" y="9670"/>
                  </a:lnTo>
                  <a:lnTo>
                    <a:pt x="11667" y="9840"/>
                  </a:lnTo>
                  <a:lnTo>
                    <a:pt x="11253" y="10011"/>
                  </a:lnTo>
                  <a:lnTo>
                    <a:pt x="10839" y="10157"/>
                  </a:lnTo>
                  <a:lnTo>
                    <a:pt x="10425" y="10278"/>
                  </a:lnTo>
                  <a:lnTo>
                    <a:pt x="9986" y="10376"/>
                  </a:lnTo>
                  <a:lnTo>
                    <a:pt x="9548" y="10449"/>
                  </a:lnTo>
                  <a:lnTo>
                    <a:pt x="9109" y="10498"/>
                  </a:lnTo>
                  <a:lnTo>
                    <a:pt x="8647" y="10522"/>
                  </a:lnTo>
                  <a:lnTo>
                    <a:pt x="8647" y="10522"/>
                  </a:lnTo>
                  <a:lnTo>
                    <a:pt x="8233" y="10522"/>
                  </a:lnTo>
                  <a:lnTo>
                    <a:pt x="7843" y="10473"/>
                  </a:lnTo>
                  <a:lnTo>
                    <a:pt x="7453" y="10425"/>
                  </a:lnTo>
                  <a:lnTo>
                    <a:pt x="7064" y="10327"/>
                  </a:lnTo>
                  <a:lnTo>
                    <a:pt x="6674" y="10230"/>
                  </a:lnTo>
                  <a:lnTo>
                    <a:pt x="6284" y="10108"/>
                  </a:lnTo>
                  <a:lnTo>
                    <a:pt x="5919" y="9986"/>
                  </a:lnTo>
                  <a:lnTo>
                    <a:pt x="5554" y="9840"/>
                  </a:lnTo>
                  <a:lnTo>
                    <a:pt x="5213" y="9670"/>
                  </a:lnTo>
                  <a:lnTo>
                    <a:pt x="4847" y="9499"/>
                  </a:lnTo>
                  <a:lnTo>
                    <a:pt x="4190" y="9109"/>
                  </a:lnTo>
                  <a:lnTo>
                    <a:pt x="3557" y="8695"/>
                  </a:lnTo>
                  <a:lnTo>
                    <a:pt x="2972" y="8233"/>
                  </a:lnTo>
                  <a:lnTo>
                    <a:pt x="2412" y="7794"/>
                  </a:lnTo>
                  <a:lnTo>
                    <a:pt x="1900" y="7332"/>
                  </a:lnTo>
                  <a:lnTo>
                    <a:pt x="1438" y="6893"/>
                  </a:lnTo>
                  <a:lnTo>
                    <a:pt x="1048" y="6479"/>
                  </a:lnTo>
                  <a:lnTo>
                    <a:pt x="390" y="5748"/>
                  </a:lnTo>
                  <a:lnTo>
                    <a:pt x="1" y="5261"/>
                  </a:lnTo>
                  <a:lnTo>
                    <a:pt x="1" y="5261"/>
                  </a:lnTo>
                  <a:lnTo>
                    <a:pt x="390" y="4774"/>
                  </a:lnTo>
                  <a:lnTo>
                    <a:pt x="1048" y="4044"/>
                  </a:lnTo>
                  <a:lnTo>
                    <a:pt x="1438" y="3630"/>
                  </a:lnTo>
                  <a:lnTo>
                    <a:pt x="1900" y="3191"/>
                  </a:lnTo>
                  <a:lnTo>
                    <a:pt x="2412" y="2728"/>
                  </a:lnTo>
                  <a:lnTo>
                    <a:pt x="2972" y="2290"/>
                  </a:lnTo>
                  <a:lnTo>
                    <a:pt x="3557" y="1852"/>
                  </a:lnTo>
                  <a:lnTo>
                    <a:pt x="4190" y="1413"/>
                  </a:lnTo>
                  <a:lnTo>
                    <a:pt x="4847" y="1024"/>
                  </a:lnTo>
                  <a:lnTo>
                    <a:pt x="5213" y="853"/>
                  </a:lnTo>
                  <a:lnTo>
                    <a:pt x="5554" y="683"/>
                  </a:lnTo>
                  <a:lnTo>
                    <a:pt x="5919" y="536"/>
                  </a:lnTo>
                  <a:lnTo>
                    <a:pt x="6284" y="415"/>
                  </a:lnTo>
                  <a:lnTo>
                    <a:pt x="6674" y="293"/>
                  </a:lnTo>
                  <a:lnTo>
                    <a:pt x="7064" y="196"/>
                  </a:lnTo>
                  <a:lnTo>
                    <a:pt x="7453" y="98"/>
                  </a:lnTo>
                  <a:lnTo>
                    <a:pt x="7843" y="49"/>
                  </a:lnTo>
                  <a:lnTo>
                    <a:pt x="8233" y="1"/>
                  </a:lnTo>
                  <a:lnTo>
                    <a:pt x="8647" y="1"/>
                  </a:lnTo>
                  <a:lnTo>
                    <a:pt x="8647" y="1"/>
                  </a:lnTo>
                  <a:lnTo>
                    <a:pt x="9109" y="25"/>
                  </a:lnTo>
                  <a:lnTo>
                    <a:pt x="9548" y="74"/>
                  </a:lnTo>
                  <a:lnTo>
                    <a:pt x="9986" y="147"/>
                  </a:lnTo>
                  <a:lnTo>
                    <a:pt x="10425" y="244"/>
                  </a:lnTo>
                  <a:lnTo>
                    <a:pt x="10839" y="366"/>
                  </a:lnTo>
                  <a:lnTo>
                    <a:pt x="11253" y="512"/>
                  </a:lnTo>
                  <a:lnTo>
                    <a:pt x="11667" y="683"/>
                  </a:lnTo>
                  <a:lnTo>
                    <a:pt x="12056" y="853"/>
                  </a:lnTo>
                  <a:lnTo>
                    <a:pt x="12446" y="1048"/>
                  </a:lnTo>
                  <a:lnTo>
                    <a:pt x="12811" y="1243"/>
                  </a:lnTo>
                  <a:lnTo>
                    <a:pt x="13493" y="1681"/>
                  </a:lnTo>
                  <a:lnTo>
                    <a:pt x="14151" y="2144"/>
                  </a:lnTo>
                  <a:lnTo>
                    <a:pt x="14711" y="2607"/>
                  </a:lnTo>
                  <a:lnTo>
                    <a:pt x="14711" y="2607"/>
                  </a:lnTo>
                  <a:lnTo>
                    <a:pt x="15198" y="3021"/>
                  </a:lnTo>
                  <a:lnTo>
                    <a:pt x="15637" y="3435"/>
                  </a:lnTo>
                  <a:lnTo>
                    <a:pt x="16026" y="3824"/>
                  </a:lnTo>
                  <a:lnTo>
                    <a:pt x="16367" y="4190"/>
                  </a:lnTo>
                  <a:lnTo>
                    <a:pt x="16927" y="4823"/>
                  </a:lnTo>
                  <a:lnTo>
                    <a:pt x="17293" y="5261"/>
                  </a:lnTo>
                  <a:lnTo>
                    <a:pt x="17293" y="5261"/>
                  </a:lnTo>
                  <a:lnTo>
                    <a:pt x="16927" y="5700"/>
                  </a:lnTo>
                  <a:lnTo>
                    <a:pt x="16367" y="6333"/>
                  </a:lnTo>
                  <a:lnTo>
                    <a:pt x="16026" y="6698"/>
                  </a:lnTo>
                  <a:lnTo>
                    <a:pt x="15637" y="7088"/>
                  </a:lnTo>
                  <a:lnTo>
                    <a:pt x="15198" y="7502"/>
                  </a:lnTo>
                  <a:lnTo>
                    <a:pt x="14711" y="7916"/>
                  </a:lnTo>
                  <a:lnTo>
                    <a:pt x="14711" y="7916"/>
                  </a:lnTo>
                  <a:close/>
                </a:path>
              </a:pathLst>
            </a:custGeom>
            <a:grpFill/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91" name="Shape 790"/>
            <p:cNvSpPr/>
            <p:nvPr/>
          </p:nvSpPr>
          <p:spPr>
            <a:xfrm>
              <a:off x="3445875" y="3155825"/>
              <a:ext cx="80400" cy="80400"/>
            </a:xfrm>
            <a:custGeom>
              <a:avLst/>
              <a:gdLst/>
              <a:ahLst/>
              <a:cxnLst/>
              <a:rect l="0" t="0" r="0" b="0"/>
              <a:pathLst>
                <a:path w="3216" h="3216" fill="none" extrusionOk="0">
                  <a:moveTo>
                    <a:pt x="0" y="1608"/>
                  </a:moveTo>
                  <a:lnTo>
                    <a:pt x="0" y="1608"/>
                  </a:lnTo>
                  <a:lnTo>
                    <a:pt x="25" y="1438"/>
                  </a:lnTo>
                  <a:lnTo>
                    <a:pt x="49" y="1292"/>
                  </a:lnTo>
                  <a:lnTo>
                    <a:pt x="73" y="1121"/>
                  </a:lnTo>
                  <a:lnTo>
                    <a:pt x="146" y="975"/>
                  </a:lnTo>
                  <a:lnTo>
                    <a:pt x="195" y="853"/>
                  </a:lnTo>
                  <a:lnTo>
                    <a:pt x="293" y="707"/>
                  </a:lnTo>
                  <a:lnTo>
                    <a:pt x="366" y="585"/>
                  </a:lnTo>
                  <a:lnTo>
                    <a:pt x="487" y="488"/>
                  </a:lnTo>
                  <a:lnTo>
                    <a:pt x="585" y="366"/>
                  </a:lnTo>
                  <a:lnTo>
                    <a:pt x="707" y="293"/>
                  </a:lnTo>
                  <a:lnTo>
                    <a:pt x="853" y="196"/>
                  </a:lnTo>
                  <a:lnTo>
                    <a:pt x="974" y="147"/>
                  </a:lnTo>
                  <a:lnTo>
                    <a:pt x="1121" y="74"/>
                  </a:lnTo>
                  <a:lnTo>
                    <a:pt x="1291" y="50"/>
                  </a:lnTo>
                  <a:lnTo>
                    <a:pt x="1437" y="25"/>
                  </a:lnTo>
                  <a:lnTo>
                    <a:pt x="1608" y="1"/>
                  </a:lnTo>
                  <a:lnTo>
                    <a:pt x="1608" y="1"/>
                  </a:lnTo>
                  <a:lnTo>
                    <a:pt x="1778" y="25"/>
                  </a:lnTo>
                  <a:lnTo>
                    <a:pt x="1924" y="50"/>
                  </a:lnTo>
                  <a:lnTo>
                    <a:pt x="2095" y="74"/>
                  </a:lnTo>
                  <a:lnTo>
                    <a:pt x="2241" y="147"/>
                  </a:lnTo>
                  <a:lnTo>
                    <a:pt x="2363" y="196"/>
                  </a:lnTo>
                  <a:lnTo>
                    <a:pt x="2509" y="293"/>
                  </a:lnTo>
                  <a:lnTo>
                    <a:pt x="2631" y="366"/>
                  </a:lnTo>
                  <a:lnTo>
                    <a:pt x="2728" y="488"/>
                  </a:lnTo>
                  <a:lnTo>
                    <a:pt x="2850" y="585"/>
                  </a:lnTo>
                  <a:lnTo>
                    <a:pt x="2923" y="707"/>
                  </a:lnTo>
                  <a:lnTo>
                    <a:pt x="3020" y="853"/>
                  </a:lnTo>
                  <a:lnTo>
                    <a:pt x="3069" y="975"/>
                  </a:lnTo>
                  <a:lnTo>
                    <a:pt x="3142" y="1121"/>
                  </a:lnTo>
                  <a:lnTo>
                    <a:pt x="3166" y="1292"/>
                  </a:lnTo>
                  <a:lnTo>
                    <a:pt x="3191" y="1438"/>
                  </a:lnTo>
                  <a:lnTo>
                    <a:pt x="3215" y="1608"/>
                  </a:lnTo>
                  <a:lnTo>
                    <a:pt x="3215" y="1608"/>
                  </a:lnTo>
                  <a:lnTo>
                    <a:pt x="3191" y="1779"/>
                  </a:lnTo>
                  <a:lnTo>
                    <a:pt x="3166" y="1925"/>
                  </a:lnTo>
                  <a:lnTo>
                    <a:pt x="3142" y="2095"/>
                  </a:lnTo>
                  <a:lnTo>
                    <a:pt x="3069" y="2242"/>
                  </a:lnTo>
                  <a:lnTo>
                    <a:pt x="3020" y="2363"/>
                  </a:lnTo>
                  <a:lnTo>
                    <a:pt x="2923" y="2509"/>
                  </a:lnTo>
                  <a:lnTo>
                    <a:pt x="2850" y="2631"/>
                  </a:lnTo>
                  <a:lnTo>
                    <a:pt x="2728" y="2729"/>
                  </a:lnTo>
                  <a:lnTo>
                    <a:pt x="2631" y="2850"/>
                  </a:lnTo>
                  <a:lnTo>
                    <a:pt x="2509" y="2924"/>
                  </a:lnTo>
                  <a:lnTo>
                    <a:pt x="2363" y="3021"/>
                  </a:lnTo>
                  <a:lnTo>
                    <a:pt x="2241" y="3070"/>
                  </a:lnTo>
                  <a:lnTo>
                    <a:pt x="2095" y="3143"/>
                  </a:lnTo>
                  <a:lnTo>
                    <a:pt x="1924" y="3167"/>
                  </a:lnTo>
                  <a:lnTo>
                    <a:pt x="1778" y="3191"/>
                  </a:lnTo>
                  <a:lnTo>
                    <a:pt x="1608" y="3216"/>
                  </a:lnTo>
                  <a:lnTo>
                    <a:pt x="1608" y="3216"/>
                  </a:lnTo>
                  <a:lnTo>
                    <a:pt x="1437" y="3191"/>
                  </a:lnTo>
                  <a:lnTo>
                    <a:pt x="1291" y="3167"/>
                  </a:lnTo>
                  <a:lnTo>
                    <a:pt x="1121" y="3143"/>
                  </a:lnTo>
                  <a:lnTo>
                    <a:pt x="974" y="3070"/>
                  </a:lnTo>
                  <a:lnTo>
                    <a:pt x="853" y="3021"/>
                  </a:lnTo>
                  <a:lnTo>
                    <a:pt x="707" y="2924"/>
                  </a:lnTo>
                  <a:lnTo>
                    <a:pt x="585" y="2850"/>
                  </a:lnTo>
                  <a:lnTo>
                    <a:pt x="487" y="2729"/>
                  </a:lnTo>
                  <a:lnTo>
                    <a:pt x="366" y="2631"/>
                  </a:lnTo>
                  <a:lnTo>
                    <a:pt x="293" y="2509"/>
                  </a:lnTo>
                  <a:lnTo>
                    <a:pt x="195" y="2363"/>
                  </a:lnTo>
                  <a:lnTo>
                    <a:pt x="146" y="2242"/>
                  </a:lnTo>
                  <a:lnTo>
                    <a:pt x="73" y="2095"/>
                  </a:lnTo>
                  <a:lnTo>
                    <a:pt x="49" y="1925"/>
                  </a:lnTo>
                  <a:lnTo>
                    <a:pt x="25" y="1779"/>
                  </a:lnTo>
                  <a:lnTo>
                    <a:pt x="0" y="1608"/>
                  </a:lnTo>
                  <a:lnTo>
                    <a:pt x="0" y="1608"/>
                  </a:lnTo>
                  <a:close/>
                </a:path>
              </a:pathLst>
            </a:custGeom>
            <a:grpFill/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92" name="Shape 791"/>
            <p:cNvSpPr/>
            <p:nvPr/>
          </p:nvSpPr>
          <p:spPr>
            <a:xfrm>
              <a:off x="3381925" y="3091900"/>
              <a:ext cx="208275" cy="208275"/>
            </a:xfrm>
            <a:custGeom>
              <a:avLst/>
              <a:gdLst/>
              <a:ahLst/>
              <a:cxnLst/>
              <a:rect l="0" t="0" r="0" b="0"/>
              <a:pathLst>
                <a:path w="8331" h="8331" fill="none" extrusionOk="0">
                  <a:moveTo>
                    <a:pt x="1" y="4165"/>
                  </a:moveTo>
                  <a:lnTo>
                    <a:pt x="1" y="4165"/>
                  </a:lnTo>
                  <a:lnTo>
                    <a:pt x="25" y="3751"/>
                  </a:lnTo>
                  <a:lnTo>
                    <a:pt x="74" y="3337"/>
                  </a:lnTo>
                  <a:lnTo>
                    <a:pt x="196" y="2923"/>
                  </a:lnTo>
                  <a:lnTo>
                    <a:pt x="318" y="2534"/>
                  </a:lnTo>
                  <a:lnTo>
                    <a:pt x="512" y="2168"/>
                  </a:lnTo>
                  <a:lnTo>
                    <a:pt x="707" y="1827"/>
                  </a:lnTo>
                  <a:lnTo>
                    <a:pt x="951" y="1511"/>
                  </a:lnTo>
                  <a:lnTo>
                    <a:pt x="1219" y="1218"/>
                  </a:lnTo>
                  <a:lnTo>
                    <a:pt x="1511" y="951"/>
                  </a:lnTo>
                  <a:lnTo>
                    <a:pt x="1828" y="707"/>
                  </a:lnTo>
                  <a:lnTo>
                    <a:pt x="2169" y="512"/>
                  </a:lnTo>
                  <a:lnTo>
                    <a:pt x="2534" y="317"/>
                  </a:lnTo>
                  <a:lnTo>
                    <a:pt x="2924" y="195"/>
                  </a:lnTo>
                  <a:lnTo>
                    <a:pt x="3313" y="74"/>
                  </a:lnTo>
                  <a:lnTo>
                    <a:pt x="3727" y="25"/>
                  </a:lnTo>
                  <a:lnTo>
                    <a:pt x="4166" y="1"/>
                  </a:lnTo>
                  <a:lnTo>
                    <a:pt x="4166" y="1"/>
                  </a:lnTo>
                  <a:lnTo>
                    <a:pt x="4580" y="25"/>
                  </a:lnTo>
                  <a:lnTo>
                    <a:pt x="4994" y="74"/>
                  </a:lnTo>
                  <a:lnTo>
                    <a:pt x="5408" y="195"/>
                  </a:lnTo>
                  <a:lnTo>
                    <a:pt x="5797" y="317"/>
                  </a:lnTo>
                  <a:lnTo>
                    <a:pt x="6163" y="512"/>
                  </a:lnTo>
                  <a:lnTo>
                    <a:pt x="6504" y="707"/>
                  </a:lnTo>
                  <a:lnTo>
                    <a:pt x="6820" y="951"/>
                  </a:lnTo>
                  <a:lnTo>
                    <a:pt x="7113" y="1218"/>
                  </a:lnTo>
                  <a:lnTo>
                    <a:pt x="7381" y="1511"/>
                  </a:lnTo>
                  <a:lnTo>
                    <a:pt x="7624" y="1827"/>
                  </a:lnTo>
                  <a:lnTo>
                    <a:pt x="7819" y="2168"/>
                  </a:lnTo>
                  <a:lnTo>
                    <a:pt x="8014" y="2534"/>
                  </a:lnTo>
                  <a:lnTo>
                    <a:pt x="8136" y="2923"/>
                  </a:lnTo>
                  <a:lnTo>
                    <a:pt x="8257" y="3337"/>
                  </a:lnTo>
                  <a:lnTo>
                    <a:pt x="8306" y="3751"/>
                  </a:lnTo>
                  <a:lnTo>
                    <a:pt x="8330" y="4165"/>
                  </a:lnTo>
                  <a:lnTo>
                    <a:pt x="8330" y="4165"/>
                  </a:lnTo>
                  <a:lnTo>
                    <a:pt x="8306" y="4579"/>
                  </a:lnTo>
                  <a:lnTo>
                    <a:pt x="8257" y="4993"/>
                  </a:lnTo>
                  <a:lnTo>
                    <a:pt x="8136" y="5407"/>
                  </a:lnTo>
                  <a:lnTo>
                    <a:pt x="8014" y="5797"/>
                  </a:lnTo>
                  <a:lnTo>
                    <a:pt x="7819" y="6162"/>
                  </a:lnTo>
                  <a:lnTo>
                    <a:pt x="7624" y="6503"/>
                  </a:lnTo>
                  <a:lnTo>
                    <a:pt x="7381" y="6820"/>
                  </a:lnTo>
                  <a:lnTo>
                    <a:pt x="7113" y="7112"/>
                  </a:lnTo>
                  <a:lnTo>
                    <a:pt x="6820" y="7380"/>
                  </a:lnTo>
                  <a:lnTo>
                    <a:pt x="6504" y="7624"/>
                  </a:lnTo>
                  <a:lnTo>
                    <a:pt x="6163" y="7819"/>
                  </a:lnTo>
                  <a:lnTo>
                    <a:pt x="5797" y="8013"/>
                  </a:lnTo>
                  <a:lnTo>
                    <a:pt x="5408" y="8135"/>
                  </a:lnTo>
                  <a:lnTo>
                    <a:pt x="4994" y="8257"/>
                  </a:lnTo>
                  <a:lnTo>
                    <a:pt x="4580" y="8306"/>
                  </a:lnTo>
                  <a:lnTo>
                    <a:pt x="4166" y="8330"/>
                  </a:lnTo>
                  <a:lnTo>
                    <a:pt x="4166" y="8330"/>
                  </a:lnTo>
                  <a:lnTo>
                    <a:pt x="3727" y="8306"/>
                  </a:lnTo>
                  <a:lnTo>
                    <a:pt x="3313" y="8257"/>
                  </a:lnTo>
                  <a:lnTo>
                    <a:pt x="2924" y="8135"/>
                  </a:lnTo>
                  <a:lnTo>
                    <a:pt x="2534" y="8013"/>
                  </a:lnTo>
                  <a:lnTo>
                    <a:pt x="2169" y="7819"/>
                  </a:lnTo>
                  <a:lnTo>
                    <a:pt x="1828" y="7624"/>
                  </a:lnTo>
                  <a:lnTo>
                    <a:pt x="1511" y="7380"/>
                  </a:lnTo>
                  <a:lnTo>
                    <a:pt x="1219" y="7112"/>
                  </a:lnTo>
                  <a:lnTo>
                    <a:pt x="951" y="6820"/>
                  </a:lnTo>
                  <a:lnTo>
                    <a:pt x="707" y="6503"/>
                  </a:lnTo>
                  <a:lnTo>
                    <a:pt x="512" y="6162"/>
                  </a:lnTo>
                  <a:lnTo>
                    <a:pt x="318" y="5797"/>
                  </a:lnTo>
                  <a:lnTo>
                    <a:pt x="196" y="5407"/>
                  </a:lnTo>
                  <a:lnTo>
                    <a:pt x="74" y="4993"/>
                  </a:lnTo>
                  <a:lnTo>
                    <a:pt x="25" y="4579"/>
                  </a:lnTo>
                  <a:lnTo>
                    <a:pt x="1" y="4165"/>
                  </a:lnTo>
                  <a:lnTo>
                    <a:pt x="1" y="4165"/>
                  </a:lnTo>
                  <a:close/>
                </a:path>
              </a:pathLst>
            </a:custGeom>
            <a:grpFill/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</p:grpSp>
      <p:grpSp>
        <p:nvGrpSpPr>
          <p:cNvPr id="94" name="Shape 578"/>
          <p:cNvGrpSpPr/>
          <p:nvPr/>
        </p:nvGrpSpPr>
        <p:grpSpPr>
          <a:xfrm>
            <a:off x="3700103" y="1791332"/>
            <a:ext cx="283373" cy="289313"/>
            <a:chOff x="3951850" y="2985350"/>
            <a:chExt cx="407950" cy="416500"/>
          </a:xfrm>
        </p:grpSpPr>
        <p:sp>
          <p:nvSpPr>
            <p:cNvPr id="96" name="Shape 579"/>
            <p:cNvSpPr/>
            <p:nvPr/>
          </p:nvSpPr>
          <p:spPr>
            <a:xfrm>
              <a:off x="3951850" y="2985350"/>
              <a:ext cx="314800" cy="314825"/>
            </a:xfrm>
            <a:custGeom>
              <a:avLst/>
              <a:gdLst/>
              <a:ahLst/>
              <a:cxnLst/>
              <a:rect l="0" t="0" r="0" b="0"/>
              <a:pathLst>
                <a:path w="12592" h="12593" fill="none" extrusionOk="0">
                  <a:moveTo>
                    <a:pt x="6284" y="1"/>
                  </a:moveTo>
                  <a:lnTo>
                    <a:pt x="6284" y="1"/>
                  </a:lnTo>
                  <a:lnTo>
                    <a:pt x="5967" y="25"/>
                  </a:lnTo>
                  <a:lnTo>
                    <a:pt x="5651" y="49"/>
                  </a:lnTo>
                  <a:lnTo>
                    <a:pt x="5334" y="74"/>
                  </a:lnTo>
                  <a:lnTo>
                    <a:pt x="5017" y="147"/>
                  </a:lnTo>
                  <a:lnTo>
                    <a:pt x="4725" y="220"/>
                  </a:lnTo>
                  <a:lnTo>
                    <a:pt x="4433" y="293"/>
                  </a:lnTo>
                  <a:lnTo>
                    <a:pt x="4141" y="390"/>
                  </a:lnTo>
                  <a:lnTo>
                    <a:pt x="3848" y="512"/>
                  </a:lnTo>
                  <a:lnTo>
                    <a:pt x="3556" y="634"/>
                  </a:lnTo>
                  <a:lnTo>
                    <a:pt x="3288" y="780"/>
                  </a:lnTo>
                  <a:lnTo>
                    <a:pt x="3020" y="926"/>
                  </a:lnTo>
                  <a:lnTo>
                    <a:pt x="2777" y="1072"/>
                  </a:lnTo>
                  <a:lnTo>
                    <a:pt x="2290" y="1437"/>
                  </a:lnTo>
                  <a:lnTo>
                    <a:pt x="1851" y="1852"/>
                  </a:lnTo>
                  <a:lnTo>
                    <a:pt x="1437" y="2290"/>
                  </a:lnTo>
                  <a:lnTo>
                    <a:pt x="1072" y="2777"/>
                  </a:lnTo>
                  <a:lnTo>
                    <a:pt x="901" y="3045"/>
                  </a:lnTo>
                  <a:lnTo>
                    <a:pt x="755" y="3313"/>
                  </a:lnTo>
                  <a:lnTo>
                    <a:pt x="609" y="3581"/>
                  </a:lnTo>
                  <a:lnTo>
                    <a:pt x="487" y="3849"/>
                  </a:lnTo>
                  <a:lnTo>
                    <a:pt x="390" y="4141"/>
                  </a:lnTo>
                  <a:lnTo>
                    <a:pt x="292" y="4433"/>
                  </a:lnTo>
                  <a:lnTo>
                    <a:pt x="195" y="4725"/>
                  </a:lnTo>
                  <a:lnTo>
                    <a:pt x="122" y="5042"/>
                  </a:lnTo>
                  <a:lnTo>
                    <a:pt x="73" y="5334"/>
                  </a:lnTo>
                  <a:lnTo>
                    <a:pt x="25" y="5651"/>
                  </a:lnTo>
                  <a:lnTo>
                    <a:pt x="0" y="5968"/>
                  </a:lnTo>
                  <a:lnTo>
                    <a:pt x="0" y="6308"/>
                  </a:lnTo>
                  <a:lnTo>
                    <a:pt x="0" y="6308"/>
                  </a:lnTo>
                  <a:lnTo>
                    <a:pt x="0" y="6625"/>
                  </a:lnTo>
                  <a:lnTo>
                    <a:pt x="25" y="6942"/>
                  </a:lnTo>
                  <a:lnTo>
                    <a:pt x="73" y="7258"/>
                  </a:lnTo>
                  <a:lnTo>
                    <a:pt x="122" y="7575"/>
                  </a:lnTo>
                  <a:lnTo>
                    <a:pt x="195" y="7867"/>
                  </a:lnTo>
                  <a:lnTo>
                    <a:pt x="292" y="8184"/>
                  </a:lnTo>
                  <a:lnTo>
                    <a:pt x="390" y="8476"/>
                  </a:lnTo>
                  <a:lnTo>
                    <a:pt x="487" y="8744"/>
                  </a:lnTo>
                  <a:lnTo>
                    <a:pt x="609" y="9036"/>
                  </a:lnTo>
                  <a:lnTo>
                    <a:pt x="755" y="9304"/>
                  </a:lnTo>
                  <a:lnTo>
                    <a:pt x="901" y="9572"/>
                  </a:lnTo>
                  <a:lnTo>
                    <a:pt x="1072" y="9816"/>
                  </a:lnTo>
                  <a:lnTo>
                    <a:pt x="1437" y="10303"/>
                  </a:lnTo>
                  <a:lnTo>
                    <a:pt x="1851" y="10741"/>
                  </a:lnTo>
                  <a:lnTo>
                    <a:pt x="2290" y="11155"/>
                  </a:lnTo>
                  <a:lnTo>
                    <a:pt x="2777" y="11520"/>
                  </a:lnTo>
                  <a:lnTo>
                    <a:pt x="3020" y="11691"/>
                  </a:lnTo>
                  <a:lnTo>
                    <a:pt x="3288" y="11837"/>
                  </a:lnTo>
                  <a:lnTo>
                    <a:pt x="3556" y="11983"/>
                  </a:lnTo>
                  <a:lnTo>
                    <a:pt x="3848" y="12105"/>
                  </a:lnTo>
                  <a:lnTo>
                    <a:pt x="4141" y="12202"/>
                  </a:lnTo>
                  <a:lnTo>
                    <a:pt x="4433" y="12300"/>
                  </a:lnTo>
                  <a:lnTo>
                    <a:pt x="4725" y="12397"/>
                  </a:lnTo>
                  <a:lnTo>
                    <a:pt x="5017" y="12470"/>
                  </a:lnTo>
                  <a:lnTo>
                    <a:pt x="5334" y="12519"/>
                  </a:lnTo>
                  <a:lnTo>
                    <a:pt x="5651" y="12568"/>
                  </a:lnTo>
                  <a:lnTo>
                    <a:pt x="5967" y="12592"/>
                  </a:lnTo>
                  <a:lnTo>
                    <a:pt x="6284" y="12592"/>
                  </a:lnTo>
                  <a:lnTo>
                    <a:pt x="6284" y="12592"/>
                  </a:lnTo>
                  <a:lnTo>
                    <a:pt x="6625" y="12592"/>
                  </a:lnTo>
                  <a:lnTo>
                    <a:pt x="6941" y="12568"/>
                  </a:lnTo>
                  <a:lnTo>
                    <a:pt x="7258" y="12519"/>
                  </a:lnTo>
                  <a:lnTo>
                    <a:pt x="7550" y="12470"/>
                  </a:lnTo>
                  <a:lnTo>
                    <a:pt x="7867" y="12397"/>
                  </a:lnTo>
                  <a:lnTo>
                    <a:pt x="8159" y="12300"/>
                  </a:lnTo>
                  <a:lnTo>
                    <a:pt x="8451" y="12202"/>
                  </a:lnTo>
                  <a:lnTo>
                    <a:pt x="8744" y="12105"/>
                  </a:lnTo>
                  <a:lnTo>
                    <a:pt x="9012" y="11983"/>
                  </a:lnTo>
                  <a:lnTo>
                    <a:pt x="9279" y="11837"/>
                  </a:lnTo>
                  <a:lnTo>
                    <a:pt x="9547" y="11691"/>
                  </a:lnTo>
                  <a:lnTo>
                    <a:pt x="9815" y="11520"/>
                  </a:lnTo>
                  <a:lnTo>
                    <a:pt x="10302" y="11155"/>
                  </a:lnTo>
                  <a:lnTo>
                    <a:pt x="10741" y="10741"/>
                  </a:lnTo>
                  <a:lnTo>
                    <a:pt x="11155" y="10303"/>
                  </a:lnTo>
                  <a:lnTo>
                    <a:pt x="11520" y="9816"/>
                  </a:lnTo>
                  <a:lnTo>
                    <a:pt x="11666" y="9572"/>
                  </a:lnTo>
                  <a:lnTo>
                    <a:pt x="11812" y="9304"/>
                  </a:lnTo>
                  <a:lnTo>
                    <a:pt x="11958" y="9036"/>
                  </a:lnTo>
                  <a:lnTo>
                    <a:pt x="12080" y="8744"/>
                  </a:lnTo>
                  <a:lnTo>
                    <a:pt x="12202" y="8476"/>
                  </a:lnTo>
                  <a:lnTo>
                    <a:pt x="12299" y="8184"/>
                  </a:lnTo>
                  <a:lnTo>
                    <a:pt x="12397" y="7867"/>
                  </a:lnTo>
                  <a:lnTo>
                    <a:pt x="12446" y="7575"/>
                  </a:lnTo>
                  <a:lnTo>
                    <a:pt x="12519" y="7258"/>
                  </a:lnTo>
                  <a:lnTo>
                    <a:pt x="12543" y="6942"/>
                  </a:lnTo>
                  <a:lnTo>
                    <a:pt x="12567" y="6625"/>
                  </a:lnTo>
                  <a:lnTo>
                    <a:pt x="12592" y="6308"/>
                  </a:lnTo>
                  <a:lnTo>
                    <a:pt x="12592" y="6308"/>
                  </a:lnTo>
                  <a:lnTo>
                    <a:pt x="12567" y="5968"/>
                  </a:lnTo>
                  <a:lnTo>
                    <a:pt x="12543" y="5651"/>
                  </a:lnTo>
                  <a:lnTo>
                    <a:pt x="12519" y="5334"/>
                  </a:lnTo>
                  <a:lnTo>
                    <a:pt x="12446" y="5042"/>
                  </a:lnTo>
                  <a:lnTo>
                    <a:pt x="12397" y="4725"/>
                  </a:lnTo>
                  <a:lnTo>
                    <a:pt x="12299" y="4433"/>
                  </a:lnTo>
                  <a:lnTo>
                    <a:pt x="12202" y="4141"/>
                  </a:lnTo>
                  <a:lnTo>
                    <a:pt x="12080" y="3849"/>
                  </a:lnTo>
                  <a:lnTo>
                    <a:pt x="11958" y="3581"/>
                  </a:lnTo>
                  <a:lnTo>
                    <a:pt x="11812" y="3313"/>
                  </a:lnTo>
                  <a:lnTo>
                    <a:pt x="11666" y="3045"/>
                  </a:lnTo>
                  <a:lnTo>
                    <a:pt x="11520" y="2777"/>
                  </a:lnTo>
                  <a:lnTo>
                    <a:pt x="11155" y="2290"/>
                  </a:lnTo>
                  <a:lnTo>
                    <a:pt x="10741" y="1852"/>
                  </a:lnTo>
                  <a:lnTo>
                    <a:pt x="10302" y="1437"/>
                  </a:lnTo>
                  <a:lnTo>
                    <a:pt x="9815" y="1072"/>
                  </a:lnTo>
                  <a:lnTo>
                    <a:pt x="9547" y="926"/>
                  </a:lnTo>
                  <a:lnTo>
                    <a:pt x="9279" y="780"/>
                  </a:lnTo>
                  <a:lnTo>
                    <a:pt x="9012" y="634"/>
                  </a:lnTo>
                  <a:lnTo>
                    <a:pt x="8744" y="512"/>
                  </a:lnTo>
                  <a:lnTo>
                    <a:pt x="8451" y="390"/>
                  </a:lnTo>
                  <a:lnTo>
                    <a:pt x="8159" y="293"/>
                  </a:lnTo>
                  <a:lnTo>
                    <a:pt x="7867" y="220"/>
                  </a:lnTo>
                  <a:lnTo>
                    <a:pt x="7550" y="147"/>
                  </a:lnTo>
                  <a:lnTo>
                    <a:pt x="7258" y="74"/>
                  </a:lnTo>
                  <a:lnTo>
                    <a:pt x="6941" y="49"/>
                  </a:lnTo>
                  <a:lnTo>
                    <a:pt x="6625" y="25"/>
                  </a:lnTo>
                  <a:lnTo>
                    <a:pt x="6284" y="1"/>
                  </a:lnTo>
                  <a:lnTo>
                    <a:pt x="6284" y="1"/>
                  </a:lnTo>
                  <a:close/>
                </a:path>
              </a:pathLst>
            </a:custGeom>
            <a:noFill/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97" name="Shape 580"/>
            <p:cNvSpPr/>
            <p:nvPr/>
          </p:nvSpPr>
          <p:spPr>
            <a:xfrm>
              <a:off x="3988375" y="3021875"/>
              <a:ext cx="241750" cy="241750"/>
            </a:xfrm>
            <a:custGeom>
              <a:avLst/>
              <a:gdLst/>
              <a:ahLst/>
              <a:cxnLst/>
              <a:rect l="0" t="0" r="0" b="0"/>
              <a:pathLst>
                <a:path w="9670" h="9670" fill="none" extrusionOk="0">
                  <a:moveTo>
                    <a:pt x="4823" y="1"/>
                  </a:moveTo>
                  <a:lnTo>
                    <a:pt x="4823" y="1"/>
                  </a:lnTo>
                  <a:lnTo>
                    <a:pt x="4336" y="25"/>
                  </a:lnTo>
                  <a:lnTo>
                    <a:pt x="3849" y="98"/>
                  </a:lnTo>
                  <a:lnTo>
                    <a:pt x="3386" y="220"/>
                  </a:lnTo>
                  <a:lnTo>
                    <a:pt x="2947" y="391"/>
                  </a:lnTo>
                  <a:lnTo>
                    <a:pt x="2533" y="585"/>
                  </a:lnTo>
                  <a:lnTo>
                    <a:pt x="2144" y="829"/>
                  </a:lnTo>
                  <a:lnTo>
                    <a:pt x="1754" y="1121"/>
                  </a:lnTo>
                  <a:lnTo>
                    <a:pt x="1413" y="1438"/>
                  </a:lnTo>
                  <a:lnTo>
                    <a:pt x="1096" y="1779"/>
                  </a:lnTo>
                  <a:lnTo>
                    <a:pt x="829" y="2144"/>
                  </a:lnTo>
                  <a:lnTo>
                    <a:pt x="585" y="2534"/>
                  </a:lnTo>
                  <a:lnTo>
                    <a:pt x="390" y="2972"/>
                  </a:lnTo>
                  <a:lnTo>
                    <a:pt x="220" y="3411"/>
                  </a:lnTo>
                  <a:lnTo>
                    <a:pt x="98" y="3873"/>
                  </a:lnTo>
                  <a:lnTo>
                    <a:pt x="25" y="4336"/>
                  </a:lnTo>
                  <a:lnTo>
                    <a:pt x="1" y="4847"/>
                  </a:lnTo>
                  <a:lnTo>
                    <a:pt x="1" y="4847"/>
                  </a:lnTo>
                  <a:lnTo>
                    <a:pt x="25" y="5335"/>
                  </a:lnTo>
                  <a:lnTo>
                    <a:pt x="98" y="5822"/>
                  </a:lnTo>
                  <a:lnTo>
                    <a:pt x="220" y="6284"/>
                  </a:lnTo>
                  <a:lnTo>
                    <a:pt x="390" y="6723"/>
                  </a:lnTo>
                  <a:lnTo>
                    <a:pt x="585" y="7137"/>
                  </a:lnTo>
                  <a:lnTo>
                    <a:pt x="829" y="7527"/>
                  </a:lnTo>
                  <a:lnTo>
                    <a:pt x="1096" y="7916"/>
                  </a:lnTo>
                  <a:lnTo>
                    <a:pt x="1413" y="8257"/>
                  </a:lnTo>
                  <a:lnTo>
                    <a:pt x="1754" y="8574"/>
                  </a:lnTo>
                  <a:lnTo>
                    <a:pt x="2144" y="8842"/>
                  </a:lnTo>
                  <a:lnTo>
                    <a:pt x="2533" y="9085"/>
                  </a:lnTo>
                  <a:lnTo>
                    <a:pt x="2947" y="9280"/>
                  </a:lnTo>
                  <a:lnTo>
                    <a:pt x="3386" y="9451"/>
                  </a:lnTo>
                  <a:lnTo>
                    <a:pt x="3849" y="9572"/>
                  </a:lnTo>
                  <a:lnTo>
                    <a:pt x="4336" y="9645"/>
                  </a:lnTo>
                  <a:lnTo>
                    <a:pt x="4823" y="9670"/>
                  </a:lnTo>
                  <a:lnTo>
                    <a:pt x="4823" y="9670"/>
                  </a:lnTo>
                  <a:lnTo>
                    <a:pt x="5334" y="9645"/>
                  </a:lnTo>
                  <a:lnTo>
                    <a:pt x="5797" y="9572"/>
                  </a:lnTo>
                  <a:lnTo>
                    <a:pt x="6260" y="9451"/>
                  </a:lnTo>
                  <a:lnTo>
                    <a:pt x="6698" y="9280"/>
                  </a:lnTo>
                  <a:lnTo>
                    <a:pt x="7136" y="9085"/>
                  </a:lnTo>
                  <a:lnTo>
                    <a:pt x="7526" y="8842"/>
                  </a:lnTo>
                  <a:lnTo>
                    <a:pt x="7892" y="8574"/>
                  </a:lnTo>
                  <a:lnTo>
                    <a:pt x="8232" y="8257"/>
                  </a:lnTo>
                  <a:lnTo>
                    <a:pt x="8549" y="7916"/>
                  </a:lnTo>
                  <a:lnTo>
                    <a:pt x="8841" y="7527"/>
                  </a:lnTo>
                  <a:lnTo>
                    <a:pt x="9085" y="7137"/>
                  </a:lnTo>
                  <a:lnTo>
                    <a:pt x="9280" y="6723"/>
                  </a:lnTo>
                  <a:lnTo>
                    <a:pt x="9450" y="6284"/>
                  </a:lnTo>
                  <a:lnTo>
                    <a:pt x="9572" y="5822"/>
                  </a:lnTo>
                  <a:lnTo>
                    <a:pt x="9645" y="5335"/>
                  </a:lnTo>
                  <a:lnTo>
                    <a:pt x="9669" y="4847"/>
                  </a:lnTo>
                  <a:lnTo>
                    <a:pt x="9669" y="4847"/>
                  </a:lnTo>
                  <a:lnTo>
                    <a:pt x="9645" y="4336"/>
                  </a:lnTo>
                  <a:lnTo>
                    <a:pt x="9572" y="3873"/>
                  </a:lnTo>
                  <a:lnTo>
                    <a:pt x="9450" y="3411"/>
                  </a:lnTo>
                  <a:lnTo>
                    <a:pt x="9280" y="2972"/>
                  </a:lnTo>
                  <a:lnTo>
                    <a:pt x="9085" y="2534"/>
                  </a:lnTo>
                  <a:lnTo>
                    <a:pt x="8841" y="2144"/>
                  </a:lnTo>
                  <a:lnTo>
                    <a:pt x="8549" y="1779"/>
                  </a:lnTo>
                  <a:lnTo>
                    <a:pt x="8232" y="1438"/>
                  </a:lnTo>
                  <a:lnTo>
                    <a:pt x="7892" y="1121"/>
                  </a:lnTo>
                  <a:lnTo>
                    <a:pt x="7526" y="829"/>
                  </a:lnTo>
                  <a:lnTo>
                    <a:pt x="7136" y="585"/>
                  </a:lnTo>
                  <a:lnTo>
                    <a:pt x="6698" y="391"/>
                  </a:lnTo>
                  <a:lnTo>
                    <a:pt x="6260" y="220"/>
                  </a:lnTo>
                  <a:lnTo>
                    <a:pt x="5797" y="98"/>
                  </a:lnTo>
                  <a:lnTo>
                    <a:pt x="5334" y="25"/>
                  </a:lnTo>
                  <a:lnTo>
                    <a:pt x="4823" y="1"/>
                  </a:lnTo>
                  <a:lnTo>
                    <a:pt x="4823" y="1"/>
                  </a:lnTo>
                </a:path>
              </a:pathLst>
            </a:custGeom>
            <a:noFill/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98" name="Shape 581"/>
            <p:cNvSpPr/>
            <p:nvPr/>
          </p:nvSpPr>
          <p:spPr>
            <a:xfrm>
              <a:off x="4024300" y="3058425"/>
              <a:ext cx="84650" cy="84650"/>
            </a:xfrm>
            <a:custGeom>
              <a:avLst/>
              <a:gdLst/>
              <a:ahLst/>
              <a:cxnLst/>
              <a:rect l="0" t="0" r="0" b="0"/>
              <a:pathLst>
                <a:path w="3386" h="3386" fill="none" extrusionOk="0">
                  <a:moveTo>
                    <a:pt x="0" y="3385"/>
                  </a:moveTo>
                  <a:lnTo>
                    <a:pt x="0" y="3385"/>
                  </a:lnTo>
                  <a:lnTo>
                    <a:pt x="25" y="3020"/>
                  </a:lnTo>
                  <a:lnTo>
                    <a:pt x="74" y="2704"/>
                  </a:lnTo>
                  <a:lnTo>
                    <a:pt x="147" y="2363"/>
                  </a:lnTo>
                  <a:lnTo>
                    <a:pt x="268" y="2070"/>
                  </a:lnTo>
                  <a:lnTo>
                    <a:pt x="414" y="1754"/>
                  </a:lnTo>
                  <a:lnTo>
                    <a:pt x="585" y="1486"/>
                  </a:lnTo>
                  <a:lnTo>
                    <a:pt x="780" y="1218"/>
                  </a:lnTo>
                  <a:lnTo>
                    <a:pt x="999" y="974"/>
                  </a:lnTo>
                  <a:lnTo>
                    <a:pt x="1243" y="755"/>
                  </a:lnTo>
                  <a:lnTo>
                    <a:pt x="1510" y="560"/>
                  </a:lnTo>
                  <a:lnTo>
                    <a:pt x="1778" y="390"/>
                  </a:lnTo>
                  <a:lnTo>
                    <a:pt x="2071" y="244"/>
                  </a:lnTo>
                  <a:lnTo>
                    <a:pt x="2387" y="146"/>
                  </a:lnTo>
                  <a:lnTo>
                    <a:pt x="2704" y="49"/>
                  </a:lnTo>
                  <a:lnTo>
                    <a:pt x="3045" y="0"/>
                  </a:lnTo>
                  <a:lnTo>
                    <a:pt x="3386" y="0"/>
                  </a:lnTo>
                </a:path>
              </a:pathLst>
            </a:custGeom>
            <a:noFill/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99" name="Shape 582"/>
            <p:cNvSpPr/>
            <p:nvPr/>
          </p:nvSpPr>
          <p:spPr>
            <a:xfrm>
              <a:off x="4205750" y="3248375"/>
              <a:ext cx="154050" cy="153475"/>
            </a:xfrm>
            <a:custGeom>
              <a:avLst/>
              <a:gdLst/>
              <a:ahLst/>
              <a:cxnLst/>
              <a:rect l="0" t="0" r="0" b="0"/>
              <a:pathLst>
                <a:path w="6162" h="6139" fill="none" extrusionOk="0">
                  <a:moveTo>
                    <a:pt x="0" y="1024"/>
                  </a:moveTo>
                  <a:lnTo>
                    <a:pt x="4969" y="5992"/>
                  </a:lnTo>
                  <a:lnTo>
                    <a:pt x="4969" y="5992"/>
                  </a:lnTo>
                  <a:lnTo>
                    <a:pt x="5042" y="6041"/>
                  </a:lnTo>
                  <a:lnTo>
                    <a:pt x="5115" y="6090"/>
                  </a:lnTo>
                  <a:lnTo>
                    <a:pt x="5212" y="6114"/>
                  </a:lnTo>
                  <a:lnTo>
                    <a:pt x="5310" y="6138"/>
                  </a:lnTo>
                  <a:lnTo>
                    <a:pt x="5407" y="6114"/>
                  </a:lnTo>
                  <a:lnTo>
                    <a:pt x="5480" y="6090"/>
                  </a:lnTo>
                  <a:lnTo>
                    <a:pt x="5577" y="6041"/>
                  </a:lnTo>
                  <a:lnTo>
                    <a:pt x="5651" y="5992"/>
                  </a:lnTo>
                  <a:lnTo>
                    <a:pt x="6016" y="5627"/>
                  </a:lnTo>
                  <a:lnTo>
                    <a:pt x="6016" y="5627"/>
                  </a:lnTo>
                  <a:lnTo>
                    <a:pt x="6089" y="5554"/>
                  </a:lnTo>
                  <a:lnTo>
                    <a:pt x="6138" y="5456"/>
                  </a:lnTo>
                  <a:lnTo>
                    <a:pt x="6162" y="5359"/>
                  </a:lnTo>
                  <a:lnTo>
                    <a:pt x="6162" y="5286"/>
                  </a:lnTo>
                  <a:lnTo>
                    <a:pt x="6162" y="5188"/>
                  </a:lnTo>
                  <a:lnTo>
                    <a:pt x="6138" y="5091"/>
                  </a:lnTo>
                  <a:lnTo>
                    <a:pt x="6089" y="5018"/>
                  </a:lnTo>
                  <a:lnTo>
                    <a:pt x="6016" y="4921"/>
                  </a:lnTo>
                  <a:lnTo>
                    <a:pt x="1072" y="1"/>
                  </a:lnTo>
                </a:path>
              </a:pathLst>
            </a:custGeom>
            <a:noFill/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</p:grpSp>
      <p:grpSp>
        <p:nvGrpSpPr>
          <p:cNvPr id="100" name="Shape 500"/>
          <p:cNvGrpSpPr/>
          <p:nvPr/>
        </p:nvGrpSpPr>
        <p:grpSpPr>
          <a:xfrm>
            <a:off x="5789351" y="1839757"/>
            <a:ext cx="326527" cy="200486"/>
            <a:chOff x="4595425" y="1707325"/>
            <a:chExt cx="470075" cy="288625"/>
          </a:xfrm>
        </p:grpSpPr>
        <p:sp>
          <p:nvSpPr>
            <p:cNvPr id="103" name="Shape 501"/>
            <p:cNvSpPr/>
            <p:nvPr/>
          </p:nvSpPr>
          <p:spPr>
            <a:xfrm>
              <a:off x="4809750" y="1707325"/>
              <a:ext cx="41425" cy="41425"/>
            </a:xfrm>
            <a:custGeom>
              <a:avLst/>
              <a:gdLst/>
              <a:ahLst/>
              <a:cxnLst/>
              <a:rect l="0" t="0" r="0" b="0"/>
              <a:pathLst>
                <a:path w="1657" h="1657" fill="none" extrusionOk="0">
                  <a:moveTo>
                    <a:pt x="0" y="829"/>
                  </a:moveTo>
                  <a:lnTo>
                    <a:pt x="0" y="829"/>
                  </a:lnTo>
                  <a:lnTo>
                    <a:pt x="25" y="658"/>
                  </a:lnTo>
                  <a:lnTo>
                    <a:pt x="73" y="512"/>
                  </a:lnTo>
                  <a:lnTo>
                    <a:pt x="146" y="366"/>
                  </a:lnTo>
                  <a:lnTo>
                    <a:pt x="244" y="244"/>
                  </a:lnTo>
                  <a:lnTo>
                    <a:pt x="366" y="147"/>
                  </a:lnTo>
                  <a:lnTo>
                    <a:pt x="512" y="74"/>
                  </a:lnTo>
                  <a:lnTo>
                    <a:pt x="658" y="25"/>
                  </a:lnTo>
                  <a:lnTo>
                    <a:pt x="828" y="1"/>
                  </a:lnTo>
                  <a:lnTo>
                    <a:pt x="828" y="1"/>
                  </a:lnTo>
                  <a:lnTo>
                    <a:pt x="999" y="25"/>
                  </a:lnTo>
                  <a:lnTo>
                    <a:pt x="1145" y="74"/>
                  </a:lnTo>
                  <a:lnTo>
                    <a:pt x="1291" y="147"/>
                  </a:lnTo>
                  <a:lnTo>
                    <a:pt x="1413" y="244"/>
                  </a:lnTo>
                  <a:lnTo>
                    <a:pt x="1510" y="366"/>
                  </a:lnTo>
                  <a:lnTo>
                    <a:pt x="1583" y="512"/>
                  </a:lnTo>
                  <a:lnTo>
                    <a:pt x="1632" y="658"/>
                  </a:lnTo>
                  <a:lnTo>
                    <a:pt x="1656" y="829"/>
                  </a:lnTo>
                  <a:lnTo>
                    <a:pt x="1656" y="829"/>
                  </a:lnTo>
                  <a:lnTo>
                    <a:pt x="1632" y="999"/>
                  </a:lnTo>
                  <a:lnTo>
                    <a:pt x="1583" y="1170"/>
                  </a:lnTo>
                  <a:lnTo>
                    <a:pt x="1510" y="1291"/>
                  </a:lnTo>
                  <a:lnTo>
                    <a:pt x="1413" y="1413"/>
                  </a:lnTo>
                  <a:lnTo>
                    <a:pt x="1291" y="1535"/>
                  </a:lnTo>
                  <a:lnTo>
                    <a:pt x="1145" y="1608"/>
                  </a:lnTo>
                  <a:lnTo>
                    <a:pt x="999" y="1657"/>
                  </a:lnTo>
                  <a:lnTo>
                    <a:pt x="828" y="1657"/>
                  </a:lnTo>
                  <a:lnTo>
                    <a:pt x="828" y="1657"/>
                  </a:lnTo>
                  <a:lnTo>
                    <a:pt x="658" y="1657"/>
                  </a:lnTo>
                  <a:lnTo>
                    <a:pt x="512" y="1608"/>
                  </a:lnTo>
                  <a:lnTo>
                    <a:pt x="366" y="1535"/>
                  </a:lnTo>
                  <a:lnTo>
                    <a:pt x="244" y="1413"/>
                  </a:lnTo>
                  <a:lnTo>
                    <a:pt x="146" y="1291"/>
                  </a:lnTo>
                  <a:lnTo>
                    <a:pt x="73" y="1170"/>
                  </a:lnTo>
                  <a:lnTo>
                    <a:pt x="25" y="999"/>
                  </a:lnTo>
                  <a:lnTo>
                    <a:pt x="0" y="829"/>
                  </a:lnTo>
                  <a:lnTo>
                    <a:pt x="0" y="829"/>
                  </a:lnTo>
                  <a:close/>
                </a:path>
              </a:pathLst>
            </a:custGeom>
            <a:noFill/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104" name="Shape 502"/>
            <p:cNvSpPr/>
            <p:nvPr/>
          </p:nvSpPr>
          <p:spPr>
            <a:xfrm>
              <a:off x="5024075" y="1761525"/>
              <a:ext cx="41425" cy="41425"/>
            </a:xfrm>
            <a:custGeom>
              <a:avLst/>
              <a:gdLst/>
              <a:ahLst/>
              <a:cxnLst/>
              <a:rect l="0" t="0" r="0" b="0"/>
              <a:pathLst>
                <a:path w="1657" h="1657" fill="none" extrusionOk="0">
                  <a:moveTo>
                    <a:pt x="0" y="828"/>
                  </a:moveTo>
                  <a:lnTo>
                    <a:pt x="0" y="828"/>
                  </a:lnTo>
                  <a:lnTo>
                    <a:pt x="25" y="682"/>
                  </a:lnTo>
                  <a:lnTo>
                    <a:pt x="73" y="512"/>
                  </a:lnTo>
                  <a:lnTo>
                    <a:pt x="146" y="365"/>
                  </a:lnTo>
                  <a:lnTo>
                    <a:pt x="244" y="244"/>
                  </a:lnTo>
                  <a:lnTo>
                    <a:pt x="366" y="146"/>
                  </a:lnTo>
                  <a:lnTo>
                    <a:pt x="512" y="73"/>
                  </a:lnTo>
                  <a:lnTo>
                    <a:pt x="658" y="24"/>
                  </a:lnTo>
                  <a:lnTo>
                    <a:pt x="828" y="0"/>
                  </a:lnTo>
                  <a:lnTo>
                    <a:pt x="828" y="0"/>
                  </a:lnTo>
                  <a:lnTo>
                    <a:pt x="999" y="24"/>
                  </a:lnTo>
                  <a:lnTo>
                    <a:pt x="1145" y="73"/>
                  </a:lnTo>
                  <a:lnTo>
                    <a:pt x="1291" y="146"/>
                  </a:lnTo>
                  <a:lnTo>
                    <a:pt x="1413" y="244"/>
                  </a:lnTo>
                  <a:lnTo>
                    <a:pt x="1510" y="365"/>
                  </a:lnTo>
                  <a:lnTo>
                    <a:pt x="1583" y="512"/>
                  </a:lnTo>
                  <a:lnTo>
                    <a:pt x="1632" y="682"/>
                  </a:lnTo>
                  <a:lnTo>
                    <a:pt x="1656" y="828"/>
                  </a:lnTo>
                  <a:lnTo>
                    <a:pt x="1656" y="828"/>
                  </a:lnTo>
                  <a:lnTo>
                    <a:pt x="1632" y="999"/>
                  </a:lnTo>
                  <a:lnTo>
                    <a:pt x="1583" y="1169"/>
                  </a:lnTo>
                  <a:lnTo>
                    <a:pt x="1510" y="1291"/>
                  </a:lnTo>
                  <a:lnTo>
                    <a:pt x="1413" y="1413"/>
                  </a:lnTo>
                  <a:lnTo>
                    <a:pt x="1291" y="1534"/>
                  </a:lnTo>
                  <a:lnTo>
                    <a:pt x="1145" y="1608"/>
                  </a:lnTo>
                  <a:lnTo>
                    <a:pt x="999" y="1656"/>
                  </a:lnTo>
                  <a:lnTo>
                    <a:pt x="828" y="1656"/>
                  </a:lnTo>
                  <a:lnTo>
                    <a:pt x="828" y="1656"/>
                  </a:lnTo>
                  <a:lnTo>
                    <a:pt x="658" y="1656"/>
                  </a:lnTo>
                  <a:lnTo>
                    <a:pt x="512" y="1608"/>
                  </a:lnTo>
                  <a:lnTo>
                    <a:pt x="366" y="1534"/>
                  </a:lnTo>
                  <a:lnTo>
                    <a:pt x="244" y="1413"/>
                  </a:lnTo>
                  <a:lnTo>
                    <a:pt x="146" y="1291"/>
                  </a:lnTo>
                  <a:lnTo>
                    <a:pt x="73" y="1169"/>
                  </a:lnTo>
                  <a:lnTo>
                    <a:pt x="25" y="999"/>
                  </a:lnTo>
                  <a:lnTo>
                    <a:pt x="0" y="828"/>
                  </a:lnTo>
                  <a:lnTo>
                    <a:pt x="0" y="828"/>
                  </a:lnTo>
                  <a:close/>
                </a:path>
              </a:pathLst>
            </a:custGeom>
            <a:noFill/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107" name="Shape 503"/>
            <p:cNvSpPr/>
            <p:nvPr/>
          </p:nvSpPr>
          <p:spPr>
            <a:xfrm>
              <a:off x="4628900" y="1760300"/>
              <a:ext cx="403100" cy="177825"/>
            </a:xfrm>
            <a:custGeom>
              <a:avLst/>
              <a:gdLst/>
              <a:ahLst/>
              <a:cxnLst/>
              <a:rect l="0" t="0" r="0" b="0"/>
              <a:pathLst>
                <a:path w="16124" h="7113" fill="none" extrusionOk="0">
                  <a:moveTo>
                    <a:pt x="14663" y="7112"/>
                  </a:moveTo>
                  <a:lnTo>
                    <a:pt x="16124" y="2095"/>
                  </a:lnTo>
                  <a:lnTo>
                    <a:pt x="16124" y="2095"/>
                  </a:lnTo>
                  <a:lnTo>
                    <a:pt x="16002" y="2046"/>
                  </a:lnTo>
                  <a:lnTo>
                    <a:pt x="15880" y="1973"/>
                  </a:lnTo>
                  <a:lnTo>
                    <a:pt x="15759" y="1876"/>
                  </a:lnTo>
                  <a:lnTo>
                    <a:pt x="15661" y="1778"/>
                  </a:lnTo>
                  <a:lnTo>
                    <a:pt x="11131" y="3434"/>
                  </a:lnTo>
                  <a:lnTo>
                    <a:pt x="8403" y="0"/>
                  </a:lnTo>
                  <a:lnTo>
                    <a:pt x="8403" y="0"/>
                  </a:lnTo>
                  <a:lnTo>
                    <a:pt x="8233" y="25"/>
                  </a:lnTo>
                  <a:lnTo>
                    <a:pt x="8062" y="25"/>
                  </a:lnTo>
                  <a:lnTo>
                    <a:pt x="8062" y="25"/>
                  </a:lnTo>
                  <a:lnTo>
                    <a:pt x="7892" y="25"/>
                  </a:lnTo>
                  <a:lnTo>
                    <a:pt x="7721" y="0"/>
                  </a:lnTo>
                  <a:lnTo>
                    <a:pt x="4994" y="3434"/>
                  </a:lnTo>
                  <a:lnTo>
                    <a:pt x="464" y="1778"/>
                  </a:lnTo>
                  <a:lnTo>
                    <a:pt x="464" y="1778"/>
                  </a:lnTo>
                  <a:lnTo>
                    <a:pt x="366" y="1876"/>
                  </a:lnTo>
                  <a:lnTo>
                    <a:pt x="244" y="1973"/>
                  </a:lnTo>
                  <a:lnTo>
                    <a:pt x="123" y="2046"/>
                  </a:lnTo>
                  <a:lnTo>
                    <a:pt x="1" y="2095"/>
                  </a:lnTo>
                  <a:lnTo>
                    <a:pt x="1462" y="7112"/>
                  </a:lnTo>
                </a:path>
              </a:pathLst>
            </a:custGeom>
            <a:noFill/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108" name="Shape 504"/>
            <p:cNvSpPr/>
            <p:nvPr/>
          </p:nvSpPr>
          <p:spPr>
            <a:xfrm>
              <a:off x="4595425" y="1761525"/>
              <a:ext cx="41425" cy="41425"/>
            </a:xfrm>
            <a:custGeom>
              <a:avLst/>
              <a:gdLst/>
              <a:ahLst/>
              <a:cxnLst/>
              <a:rect l="0" t="0" r="0" b="0"/>
              <a:pathLst>
                <a:path w="1657" h="1657" fill="none" extrusionOk="0">
                  <a:moveTo>
                    <a:pt x="0" y="828"/>
                  </a:moveTo>
                  <a:lnTo>
                    <a:pt x="0" y="828"/>
                  </a:lnTo>
                  <a:lnTo>
                    <a:pt x="25" y="682"/>
                  </a:lnTo>
                  <a:lnTo>
                    <a:pt x="73" y="512"/>
                  </a:lnTo>
                  <a:lnTo>
                    <a:pt x="146" y="365"/>
                  </a:lnTo>
                  <a:lnTo>
                    <a:pt x="244" y="244"/>
                  </a:lnTo>
                  <a:lnTo>
                    <a:pt x="366" y="146"/>
                  </a:lnTo>
                  <a:lnTo>
                    <a:pt x="512" y="73"/>
                  </a:lnTo>
                  <a:lnTo>
                    <a:pt x="658" y="24"/>
                  </a:lnTo>
                  <a:lnTo>
                    <a:pt x="828" y="0"/>
                  </a:lnTo>
                  <a:lnTo>
                    <a:pt x="828" y="0"/>
                  </a:lnTo>
                  <a:lnTo>
                    <a:pt x="999" y="24"/>
                  </a:lnTo>
                  <a:lnTo>
                    <a:pt x="1145" y="73"/>
                  </a:lnTo>
                  <a:lnTo>
                    <a:pt x="1291" y="146"/>
                  </a:lnTo>
                  <a:lnTo>
                    <a:pt x="1413" y="244"/>
                  </a:lnTo>
                  <a:lnTo>
                    <a:pt x="1510" y="365"/>
                  </a:lnTo>
                  <a:lnTo>
                    <a:pt x="1583" y="512"/>
                  </a:lnTo>
                  <a:lnTo>
                    <a:pt x="1632" y="682"/>
                  </a:lnTo>
                  <a:lnTo>
                    <a:pt x="1657" y="828"/>
                  </a:lnTo>
                  <a:lnTo>
                    <a:pt x="1657" y="828"/>
                  </a:lnTo>
                  <a:lnTo>
                    <a:pt x="1632" y="999"/>
                  </a:lnTo>
                  <a:lnTo>
                    <a:pt x="1583" y="1169"/>
                  </a:lnTo>
                  <a:lnTo>
                    <a:pt x="1510" y="1291"/>
                  </a:lnTo>
                  <a:lnTo>
                    <a:pt x="1413" y="1413"/>
                  </a:lnTo>
                  <a:lnTo>
                    <a:pt x="1291" y="1534"/>
                  </a:lnTo>
                  <a:lnTo>
                    <a:pt x="1145" y="1608"/>
                  </a:lnTo>
                  <a:lnTo>
                    <a:pt x="999" y="1656"/>
                  </a:lnTo>
                  <a:lnTo>
                    <a:pt x="828" y="1656"/>
                  </a:lnTo>
                  <a:lnTo>
                    <a:pt x="828" y="1656"/>
                  </a:lnTo>
                  <a:lnTo>
                    <a:pt x="658" y="1656"/>
                  </a:lnTo>
                  <a:lnTo>
                    <a:pt x="512" y="1608"/>
                  </a:lnTo>
                  <a:lnTo>
                    <a:pt x="366" y="1534"/>
                  </a:lnTo>
                  <a:lnTo>
                    <a:pt x="244" y="1413"/>
                  </a:lnTo>
                  <a:lnTo>
                    <a:pt x="146" y="1291"/>
                  </a:lnTo>
                  <a:lnTo>
                    <a:pt x="73" y="1169"/>
                  </a:lnTo>
                  <a:lnTo>
                    <a:pt x="25" y="999"/>
                  </a:lnTo>
                  <a:lnTo>
                    <a:pt x="0" y="828"/>
                  </a:lnTo>
                  <a:lnTo>
                    <a:pt x="0" y="828"/>
                  </a:lnTo>
                  <a:close/>
                </a:path>
              </a:pathLst>
            </a:custGeom>
            <a:noFill/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109" name="Shape 505"/>
            <p:cNvSpPr/>
            <p:nvPr/>
          </p:nvSpPr>
          <p:spPr>
            <a:xfrm>
              <a:off x="4667275" y="1951475"/>
              <a:ext cx="326375" cy="44475"/>
            </a:xfrm>
            <a:custGeom>
              <a:avLst/>
              <a:gdLst/>
              <a:ahLst/>
              <a:cxnLst/>
              <a:rect l="0" t="0" r="0" b="0"/>
              <a:pathLst>
                <a:path w="13055" h="1779" fill="none" extrusionOk="0">
                  <a:moveTo>
                    <a:pt x="6527" y="1535"/>
                  </a:moveTo>
                  <a:lnTo>
                    <a:pt x="6527" y="1535"/>
                  </a:lnTo>
                  <a:lnTo>
                    <a:pt x="8232" y="1535"/>
                  </a:lnTo>
                  <a:lnTo>
                    <a:pt x="9815" y="1584"/>
                  </a:lnTo>
                  <a:lnTo>
                    <a:pt x="11252" y="1657"/>
                  </a:lnTo>
                  <a:lnTo>
                    <a:pt x="12543" y="1779"/>
                  </a:lnTo>
                  <a:lnTo>
                    <a:pt x="13054" y="1"/>
                  </a:lnTo>
                  <a:lnTo>
                    <a:pt x="0" y="1"/>
                  </a:lnTo>
                  <a:lnTo>
                    <a:pt x="512" y="1779"/>
                  </a:lnTo>
                  <a:lnTo>
                    <a:pt x="512" y="1779"/>
                  </a:lnTo>
                  <a:lnTo>
                    <a:pt x="1803" y="1681"/>
                  </a:lnTo>
                  <a:lnTo>
                    <a:pt x="3239" y="1584"/>
                  </a:lnTo>
                  <a:lnTo>
                    <a:pt x="4823" y="1535"/>
                  </a:lnTo>
                  <a:lnTo>
                    <a:pt x="6527" y="1535"/>
                  </a:lnTo>
                  <a:lnTo>
                    <a:pt x="6527" y="1535"/>
                  </a:lnTo>
                  <a:close/>
                </a:path>
              </a:pathLst>
            </a:custGeom>
            <a:noFill/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</p:grpSp>
      <p:grpSp>
        <p:nvGrpSpPr>
          <p:cNvPr id="110" name="Shape 506"/>
          <p:cNvGrpSpPr/>
          <p:nvPr/>
        </p:nvGrpSpPr>
        <p:grpSpPr>
          <a:xfrm>
            <a:off x="4777658" y="1794110"/>
            <a:ext cx="295234" cy="298603"/>
            <a:chOff x="5290150" y="1636700"/>
            <a:chExt cx="425025" cy="429875"/>
          </a:xfrm>
        </p:grpSpPr>
        <p:sp>
          <p:nvSpPr>
            <p:cNvPr id="111" name="Shape 507"/>
            <p:cNvSpPr/>
            <p:nvPr/>
          </p:nvSpPr>
          <p:spPr>
            <a:xfrm>
              <a:off x="5396700" y="1939925"/>
              <a:ext cx="211900" cy="126650"/>
            </a:xfrm>
            <a:custGeom>
              <a:avLst/>
              <a:gdLst/>
              <a:ahLst/>
              <a:cxnLst/>
              <a:rect l="0" t="0" r="0" b="0"/>
              <a:pathLst>
                <a:path w="8476" h="5066" fill="none" extrusionOk="0">
                  <a:moveTo>
                    <a:pt x="3167" y="0"/>
                  </a:moveTo>
                  <a:lnTo>
                    <a:pt x="3167" y="2825"/>
                  </a:lnTo>
                  <a:lnTo>
                    <a:pt x="3167" y="2825"/>
                  </a:lnTo>
                  <a:lnTo>
                    <a:pt x="2606" y="2947"/>
                  </a:lnTo>
                  <a:lnTo>
                    <a:pt x="2071" y="3093"/>
                  </a:lnTo>
                  <a:lnTo>
                    <a:pt x="1584" y="3288"/>
                  </a:lnTo>
                  <a:lnTo>
                    <a:pt x="1145" y="3483"/>
                  </a:lnTo>
                  <a:lnTo>
                    <a:pt x="780" y="3702"/>
                  </a:lnTo>
                  <a:lnTo>
                    <a:pt x="609" y="3848"/>
                  </a:lnTo>
                  <a:lnTo>
                    <a:pt x="463" y="3970"/>
                  </a:lnTo>
                  <a:lnTo>
                    <a:pt x="317" y="4116"/>
                  </a:lnTo>
                  <a:lnTo>
                    <a:pt x="195" y="4262"/>
                  </a:lnTo>
                  <a:lnTo>
                    <a:pt x="74" y="4408"/>
                  </a:lnTo>
                  <a:lnTo>
                    <a:pt x="0" y="4579"/>
                  </a:lnTo>
                  <a:lnTo>
                    <a:pt x="0" y="4579"/>
                  </a:lnTo>
                  <a:lnTo>
                    <a:pt x="171" y="4652"/>
                  </a:lnTo>
                  <a:lnTo>
                    <a:pt x="414" y="4725"/>
                  </a:lnTo>
                  <a:lnTo>
                    <a:pt x="780" y="4822"/>
                  </a:lnTo>
                  <a:lnTo>
                    <a:pt x="1340" y="4895"/>
                  </a:lnTo>
                  <a:lnTo>
                    <a:pt x="2095" y="4993"/>
                  </a:lnTo>
                  <a:lnTo>
                    <a:pt x="3045" y="5042"/>
                  </a:lnTo>
                  <a:lnTo>
                    <a:pt x="4238" y="5066"/>
                  </a:lnTo>
                  <a:lnTo>
                    <a:pt x="4238" y="5066"/>
                  </a:lnTo>
                  <a:lnTo>
                    <a:pt x="5432" y="5042"/>
                  </a:lnTo>
                  <a:lnTo>
                    <a:pt x="6381" y="4993"/>
                  </a:lnTo>
                  <a:lnTo>
                    <a:pt x="7136" y="4895"/>
                  </a:lnTo>
                  <a:lnTo>
                    <a:pt x="7697" y="4822"/>
                  </a:lnTo>
                  <a:lnTo>
                    <a:pt x="8062" y="4725"/>
                  </a:lnTo>
                  <a:lnTo>
                    <a:pt x="8305" y="4652"/>
                  </a:lnTo>
                  <a:lnTo>
                    <a:pt x="8476" y="4579"/>
                  </a:lnTo>
                  <a:lnTo>
                    <a:pt x="8476" y="4579"/>
                  </a:lnTo>
                  <a:lnTo>
                    <a:pt x="8403" y="4408"/>
                  </a:lnTo>
                  <a:lnTo>
                    <a:pt x="8281" y="4262"/>
                  </a:lnTo>
                  <a:lnTo>
                    <a:pt x="8159" y="4116"/>
                  </a:lnTo>
                  <a:lnTo>
                    <a:pt x="8013" y="3970"/>
                  </a:lnTo>
                  <a:lnTo>
                    <a:pt x="7867" y="3848"/>
                  </a:lnTo>
                  <a:lnTo>
                    <a:pt x="7697" y="3702"/>
                  </a:lnTo>
                  <a:lnTo>
                    <a:pt x="7331" y="3483"/>
                  </a:lnTo>
                  <a:lnTo>
                    <a:pt x="6893" y="3288"/>
                  </a:lnTo>
                  <a:lnTo>
                    <a:pt x="6406" y="3093"/>
                  </a:lnTo>
                  <a:lnTo>
                    <a:pt x="5870" y="2947"/>
                  </a:lnTo>
                  <a:lnTo>
                    <a:pt x="5310" y="2825"/>
                  </a:lnTo>
                  <a:lnTo>
                    <a:pt x="5310" y="0"/>
                  </a:lnTo>
                </a:path>
              </a:pathLst>
            </a:custGeom>
            <a:noFill/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112" name="Shape 508"/>
            <p:cNvSpPr/>
            <p:nvPr/>
          </p:nvSpPr>
          <p:spPr>
            <a:xfrm>
              <a:off x="5290150" y="1636700"/>
              <a:ext cx="425025" cy="294100"/>
            </a:xfrm>
            <a:custGeom>
              <a:avLst/>
              <a:gdLst/>
              <a:ahLst/>
              <a:cxnLst/>
              <a:rect l="0" t="0" r="0" b="0"/>
              <a:pathLst>
                <a:path w="17001" h="11764" fill="none" extrusionOk="0">
                  <a:moveTo>
                    <a:pt x="15928" y="1072"/>
                  </a:moveTo>
                  <a:lnTo>
                    <a:pt x="13785" y="1072"/>
                  </a:lnTo>
                  <a:lnTo>
                    <a:pt x="13785" y="1072"/>
                  </a:lnTo>
                  <a:lnTo>
                    <a:pt x="13810" y="487"/>
                  </a:lnTo>
                  <a:lnTo>
                    <a:pt x="13810" y="487"/>
                  </a:lnTo>
                  <a:lnTo>
                    <a:pt x="13785" y="390"/>
                  </a:lnTo>
                  <a:lnTo>
                    <a:pt x="13761" y="293"/>
                  </a:lnTo>
                  <a:lnTo>
                    <a:pt x="13688" y="220"/>
                  </a:lnTo>
                  <a:lnTo>
                    <a:pt x="13639" y="146"/>
                  </a:lnTo>
                  <a:lnTo>
                    <a:pt x="13566" y="98"/>
                  </a:lnTo>
                  <a:lnTo>
                    <a:pt x="13469" y="49"/>
                  </a:lnTo>
                  <a:lnTo>
                    <a:pt x="13371" y="25"/>
                  </a:lnTo>
                  <a:lnTo>
                    <a:pt x="13274" y="0"/>
                  </a:lnTo>
                  <a:lnTo>
                    <a:pt x="8500" y="0"/>
                  </a:lnTo>
                  <a:lnTo>
                    <a:pt x="3727" y="0"/>
                  </a:lnTo>
                  <a:lnTo>
                    <a:pt x="3727" y="0"/>
                  </a:lnTo>
                  <a:lnTo>
                    <a:pt x="3629" y="25"/>
                  </a:lnTo>
                  <a:lnTo>
                    <a:pt x="3532" y="49"/>
                  </a:lnTo>
                  <a:lnTo>
                    <a:pt x="3434" y="98"/>
                  </a:lnTo>
                  <a:lnTo>
                    <a:pt x="3361" y="146"/>
                  </a:lnTo>
                  <a:lnTo>
                    <a:pt x="3313" y="220"/>
                  </a:lnTo>
                  <a:lnTo>
                    <a:pt x="3240" y="293"/>
                  </a:lnTo>
                  <a:lnTo>
                    <a:pt x="3215" y="390"/>
                  </a:lnTo>
                  <a:lnTo>
                    <a:pt x="3191" y="487"/>
                  </a:lnTo>
                  <a:lnTo>
                    <a:pt x="3191" y="487"/>
                  </a:lnTo>
                  <a:lnTo>
                    <a:pt x="3215" y="1072"/>
                  </a:lnTo>
                  <a:lnTo>
                    <a:pt x="1072" y="1072"/>
                  </a:lnTo>
                  <a:lnTo>
                    <a:pt x="1072" y="1072"/>
                  </a:lnTo>
                  <a:lnTo>
                    <a:pt x="853" y="1096"/>
                  </a:lnTo>
                  <a:lnTo>
                    <a:pt x="658" y="1145"/>
                  </a:lnTo>
                  <a:lnTo>
                    <a:pt x="487" y="1242"/>
                  </a:lnTo>
                  <a:lnTo>
                    <a:pt x="317" y="1389"/>
                  </a:lnTo>
                  <a:lnTo>
                    <a:pt x="195" y="1535"/>
                  </a:lnTo>
                  <a:lnTo>
                    <a:pt x="98" y="1730"/>
                  </a:lnTo>
                  <a:lnTo>
                    <a:pt x="25" y="1924"/>
                  </a:lnTo>
                  <a:lnTo>
                    <a:pt x="0" y="2144"/>
                  </a:lnTo>
                  <a:lnTo>
                    <a:pt x="0" y="2144"/>
                  </a:lnTo>
                  <a:lnTo>
                    <a:pt x="25" y="2606"/>
                  </a:lnTo>
                  <a:lnTo>
                    <a:pt x="49" y="3069"/>
                  </a:lnTo>
                  <a:lnTo>
                    <a:pt x="98" y="3507"/>
                  </a:lnTo>
                  <a:lnTo>
                    <a:pt x="171" y="3946"/>
                  </a:lnTo>
                  <a:lnTo>
                    <a:pt x="268" y="4336"/>
                  </a:lnTo>
                  <a:lnTo>
                    <a:pt x="366" y="4725"/>
                  </a:lnTo>
                  <a:lnTo>
                    <a:pt x="487" y="5115"/>
                  </a:lnTo>
                  <a:lnTo>
                    <a:pt x="634" y="5480"/>
                  </a:lnTo>
                  <a:lnTo>
                    <a:pt x="780" y="5821"/>
                  </a:lnTo>
                  <a:lnTo>
                    <a:pt x="926" y="6138"/>
                  </a:lnTo>
                  <a:lnTo>
                    <a:pt x="1096" y="6454"/>
                  </a:lnTo>
                  <a:lnTo>
                    <a:pt x="1291" y="6747"/>
                  </a:lnTo>
                  <a:lnTo>
                    <a:pt x="1462" y="7039"/>
                  </a:lnTo>
                  <a:lnTo>
                    <a:pt x="1656" y="7307"/>
                  </a:lnTo>
                  <a:lnTo>
                    <a:pt x="2071" y="7794"/>
                  </a:lnTo>
                  <a:lnTo>
                    <a:pt x="2509" y="8232"/>
                  </a:lnTo>
                  <a:lnTo>
                    <a:pt x="2923" y="8598"/>
                  </a:lnTo>
                  <a:lnTo>
                    <a:pt x="3337" y="8914"/>
                  </a:lnTo>
                  <a:lnTo>
                    <a:pt x="3751" y="9158"/>
                  </a:lnTo>
                  <a:lnTo>
                    <a:pt x="4141" y="9353"/>
                  </a:lnTo>
                  <a:lnTo>
                    <a:pt x="4506" y="9499"/>
                  </a:lnTo>
                  <a:lnTo>
                    <a:pt x="4823" y="9596"/>
                  </a:lnTo>
                  <a:lnTo>
                    <a:pt x="5091" y="9645"/>
                  </a:lnTo>
                  <a:lnTo>
                    <a:pt x="5091" y="9645"/>
                  </a:lnTo>
                  <a:lnTo>
                    <a:pt x="5407" y="10108"/>
                  </a:lnTo>
                  <a:lnTo>
                    <a:pt x="5748" y="10546"/>
                  </a:lnTo>
                  <a:lnTo>
                    <a:pt x="5919" y="10717"/>
                  </a:lnTo>
                  <a:lnTo>
                    <a:pt x="6113" y="10887"/>
                  </a:lnTo>
                  <a:lnTo>
                    <a:pt x="6308" y="11057"/>
                  </a:lnTo>
                  <a:lnTo>
                    <a:pt x="6527" y="11204"/>
                  </a:lnTo>
                  <a:lnTo>
                    <a:pt x="6747" y="11325"/>
                  </a:lnTo>
                  <a:lnTo>
                    <a:pt x="6966" y="11447"/>
                  </a:lnTo>
                  <a:lnTo>
                    <a:pt x="7209" y="11545"/>
                  </a:lnTo>
                  <a:lnTo>
                    <a:pt x="7453" y="11618"/>
                  </a:lnTo>
                  <a:lnTo>
                    <a:pt x="7697" y="11691"/>
                  </a:lnTo>
                  <a:lnTo>
                    <a:pt x="7964" y="11739"/>
                  </a:lnTo>
                  <a:lnTo>
                    <a:pt x="8232" y="11764"/>
                  </a:lnTo>
                  <a:lnTo>
                    <a:pt x="8500" y="11764"/>
                  </a:lnTo>
                  <a:lnTo>
                    <a:pt x="8500" y="11764"/>
                  </a:lnTo>
                  <a:lnTo>
                    <a:pt x="8768" y="11764"/>
                  </a:lnTo>
                  <a:lnTo>
                    <a:pt x="9036" y="11739"/>
                  </a:lnTo>
                  <a:lnTo>
                    <a:pt x="9304" y="11691"/>
                  </a:lnTo>
                  <a:lnTo>
                    <a:pt x="9547" y="11618"/>
                  </a:lnTo>
                  <a:lnTo>
                    <a:pt x="9791" y="11545"/>
                  </a:lnTo>
                  <a:lnTo>
                    <a:pt x="10035" y="11447"/>
                  </a:lnTo>
                  <a:lnTo>
                    <a:pt x="10254" y="11325"/>
                  </a:lnTo>
                  <a:lnTo>
                    <a:pt x="10473" y="11204"/>
                  </a:lnTo>
                  <a:lnTo>
                    <a:pt x="10692" y="11057"/>
                  </a:lnTo>
                  <a:lnTo>
                    <a:pt x="10887" y="10887"/>
                  </a:lnTo>
                  <a:lnTo>
                    <a:pt x="11082" y="10717"/>
                  </a:lnTo>
                  <a:lnTo>
                    <a:pt x="11252" y="10546"/>
                  </a:lnTo>
                  <a:lnTo>
                    <a:pt x="11593" y="10108"/>
                  </a:lnTo>
                  <a:lnTo>
                    <a:pt x="11910" y="9645"/>
                  </a:lnTo>
                  <a:lnTo>
                    <a:pt x="11910" y="9645"/>
                  </a:lnTo>
                  <a:lnTo>
                    <a:pt x="12178" y="9596"/>
                  </a:lnTo>
                  <a:lnTo>
                    <a:pt x="12494" y="9523"/>
                  </a:lnTo>
                  <a:lnTo>
                    <a:pt x="12860" y="9377"/>
                  </a:lnTo>
                  <a:lnTo>
                    <a:pt x="13249" y="9182"/>
                  </a:lnTo>
                  <a:lnTo>
                    <a:pt x="13663" y="8939"/>
                  </a:lnTo>
                  <a:lnTo>
                    <a:pt x="14077" y="8622"/>
                  </a:lnTo>
                  <a:lnTo>
                    <a:pt x="14516" y="8257"/>
                  </a:lnTo>
                  <a:lnTo>
                    <a:pt x="14930" y="7843"/>
                  </a:lnTo>
                  <a:lnTo>
                    <a:pt x="15344" y="7356"/>
                  </a:lnTo>
                  <a:lnTo>
                    <a:pt x="15539" y="7088"/>
                  </a:lnTo>
                  <a:lnTo>
                    <a:pt x="15709" y="6795"/>
                  </a:lnTo>
                  <a:lnTo>
                    <a:pt x="15904" y="6503"/>
                  </a:lnTo>
                  <a:lnTo>
                    <a:pt x="16075" y="6186"/>
                  </a:lnTo>
                  <a:lnTo>
                    <a:pt x="16221" y="5870"/>
                  </a:lnTo>
                  <a:lnTo>
                    <a:pt x="16367" y="5505"/>
                  </a:lnTo>
                  <a:lnTo>
                    <a:pt x="16513" y="5164"/>
                  </a:lnTo>
                  <a:lnTo>
                    <a:pt x="16635" y="4774"/>
                  </a:lnTo>
                  <a:lnTo>
                    <a:pt x="16732" y="4384"/>
                  </a:lnTo>
                  <a:lnTo>
                    <a:pt x="16830" y="3970"/>
                  </a:lnTo>
                  <a:lnTo>
                    <a:pt x="16903" y="3532"/>
                  </a:lnTo>
                  <a:lnTo>
                    <a:pt x="16951" y="3093"/>
                  </a:lnTo>
                  <a:lnTo>
                    <a:pt x="16976" y="2606"/>
                  </a:lnTo>
                  <a:lnTo>
                    <a:pt x="17000" y="2144"/>
                  </a:lnTo>
                  <a:lnTo>
                    <a:pt x="17000" y="2144"/>
                  </a:lnTo>
                  <a:lnTo>
                    <a:pt x="16976" y="1924"/>
                  </a:lnTo>
                  <a:lnTo>
                    <a:pt x="16903" y="1730"/>
                  </a:lnTo>
                  <a:lnTo>
                    <a:pt x="16805" y="1535"/>
                  </a:lnTo>
                  <a:lnTo>
                    <a:pt x="16683" y="1389"/>
                  </a:lnTo>
                  <a:lnTo>
                    <a:pt x="16513" y="1242"/>
                  </a:lnTo>
                  <a:lnTo>
                    <a:pt x="16343" y="1145"/>
                  </a:lnTo>
                  <a:lnTo>
                    <a:pt x="16148" y="1096"/>
                  </a:lnTo>
                  <a:lnTo>
                    <a:pt x="15928" y="1072"/>
                  </a:lnTo>
                  <a:lnTo>
                    <a:pt x="15928" y="1072"/>
                  </a:lnTo>
                  <a:close/>
                  <a:moveTo>
                    <a:pt x="1072" y="2144"/>
                  </a:moveTo>
                  <a:lnTo>
                    <a:pt x="3240" y="2144"/>
                  </a:lnTo>
                  <a:lnTo>
                    <a:pt x="3240" y="2144"/>
                  </a:lnTo>
                  <a:lnTo>
                    <a:pt x="3288" y="3118"/>
                  </a:lnTo>
                  <a:lnTo>
                    <a:pt x="3361" y="4019"/>
                  </a:lnTo>
                  <a:lnTo>
                    <a:pt x="3483" y="4823"/>
                  </a:lnTo>
                  <a:lnTo>
                    <a:pt x="3605" y="5602"/>
                  </a:lnTo>
                  <a:lnTo>
                    <a:pt x="3775" y="6333"/>
                  </a:lnTo>
                  <a:lnTo>
                    <a:pt x="3995" y="7039"/>
                  </a:lnTo>
                  <a:lnTo>
                    <a:pt x="4214" y="7745"/>
                  </a:lnTo>
                  <a:lnTo>
                    <a:pt x="4506" y="8451"/>
                  </a:lnTo>
                  <a:lnTo>
                    <a:pt x="4506" y="8451"/>
                  </a:lnTo>
                  <a:lnTo>
                    <a:pt x="4262" y="8378"/>
                  </a:lnTo>
                  <a:lnTo>
                    <a:pt x="4043" y="8281"/>
                  </a:lnTo>
                  <a:lnTo>
                    <a:pt x="3824" y="8159"/>
                  </a:lnTo>
                  <a:lnTo>
                    <a:pt x="3629" y="8037"/>
                  </a:lnTo>
                  <a:lnTo>
                    <a:pt x="3434" y="7891"/>
                  </a:lnTo>
                  <a:lnTo>
                    <a:pt x="3240" y="7745"/>
                  </a:lnTo>
                  <a:lnTo>
                    <a:pt x="2899" y="7404"/>
                  </a:lnTo>
                  <a:lnTo>
                    <a:pt x="2582" y="7015"/>
                  </a:lnTo>
                  <a:lnTo>
                    <a:pt x="2290" y="6601"/>
                  </a:lnTo>
                  <a:lnTo>
                    <a:pt x="2046" y="6186"/>
                  </a:lnTo>
                  <a:lnTo>
                    <a:pt x="1827" y="5724"/>
                  </a:lnTo>
                  <a:lnTo>
                    <a:pt x="1632" y="5237"/>
                  </a:lnTo>
                  <a:lnTo>
                    <a:pt x="1486" y="4774"/>
                  </a:lnTo>
                  <a:lnTo>
                    <a:pt x="1340" y="4287"/>
                  </a:lnTo>
                  <a:lnTo>
                    <a:pt x="1242" y="3824"/>
                  </a:lnTo>
                  <a:lnTo>
                    <a:pt x="1169" y="3361"/>
                  </a:lnTo>
                  <a:lnTo>
                    <a:pt x="1121" y="2923"/>
                  </a:lnTo>
                  <a:lnTo>
                    <a:pt x="1072" y="2509"/>
                  </a:lnTo>
                  <a:lnTo>
                    <a:pt x="1072" y="2144"/>
                  </a:lnTo>
                  <a:lnTo>
                    <a:pt x="1072" y="2144"/>
                  </a:lnTo>
                  <a:close/>
                  <a:moveTo>
                    <a:pt x="10595" y="4628"/>
                  </a:moveTo>
                  <a:lnTo>
                    <a:pt x="9718" y="5407"/>
                  </a:lnTo>
                  <a:lnTo>
                    <a:pt x="9718" y="5407"/>
                  </a:lnTo>
                  <a:lnTo>
                    <a:pt x="9669" y="5480"/>
                  </a:lnTo>
                  <a:lnTo>
                    <a:pt x="9621" y="5578"/>
                  </a:lnTo>
                  <a:lnTo>
                    <a:pt x="9596" y="5675"/>
                  </a:lnTo>
                  <a:lnTo>
                    <a:pt x="9596" y="5772"/>
                  </a:lnTo>
                  <a:lnTo>
                    <a:pt x="9864" y="6941"/>
                  </a:lnTo>
                  <a:lnTo>
                    <a:pt x="9864" y="6941"/>
                  </a:lnTo>
                  <a:lnTo>
                    <a:pt x="9864" y="7015"/>
                  </a:lnTo>
                  <a:lnTo>
                    <a:pt x="9840" y="7063"/>
                  </a:lnTo>
                  <a:lnTo>
                    <a:pt x="9791" y="7063"/>
                  </a:lnTo>
                  <a:lnTo>
                    <a:pt x="9718" y="7039"/>
                  </a:lnTo>
                  <a:lnTo>
                    <a:pt x="8695" y="6454"/>
                  </a:lnTo>
                  <a:lnTo>
                    <a:pt x="8695" y="6454"/>
                  </a:lnTo>
                  <a:lnTo>
                    <a:pt x="8598" y="6406"/>
                  </a:lnTo>
                  <a:lnTo>
                    <a:pt x="8500" y="6406"/>
                  </a:lnTo>
                  <a:lnTo>
                    <a:pt x="8403" y="6406"/>
                  </a:lnTo>
                  <a:lnTo>
                    <a:pt x="8305" y="6454"/>
                  </a:lnTo>
                  <a:lnTo>
                    <a:pt x="7282" y="7039"/>
                  </a:lnTo>
                  <a:lnTo>
                    <a:pt x="7282" y="7039"/>
                  </a:lnTo>
                  <a:lnTo>
                    <a:pt x="7209" y="7063"/>
                  </a:lnTo>
                  <a:lnTo>
                    <a:pt x="7161" y="7063"/>
                  </a:lnTo>
                  <a:lnTo>
                    <a:pt x="7136" y="7015"/>
                  </a:lnTo>
                  <a:lnTo>
                    <a:pt x="7136" y="6941"/>
                  </a:lnTo>
                  <a:lnTo>
                    <a:pt x="7404" y="5772"/>
                  </a:lnTo>
                  <a:lnTo>
                    <a:pt x="7404" y="5772"/>
                  </a:lnTo>
                  <a:lnTo>
                    <a:pt x="7404" y="5675"/>
                  </a:lnTo>
                  <a:lnTo>
                    <a:pt x="7380" y="5578"/>
                  </a:lnTo>
                  <a:lnTo>
                    <a:pt x="7331" y="5480"/>
                  </a:lnTo>
                  <a:lnTo>
                    <a:pt x="7282" y="5407"/>
                  </a:lnTo>
                  <a:lnTo>
                    <a:pt x="6406" y="4628"/>
                  </a:lnTo>
                  <a:lnTo>
                    <a:pt x="6406" y="4628"/>
                  </a:lnTo>
                  <a:lnTo>
                    <a:pt x="6357" y="4579"/>
                  </a:lnTo>
                  <a:lnTo>
                    <a:pt x="6333" y="4506"/>
                  </a:lnTo>
                  <a:lnTo>
                    <a:pt x="6381" y="4482"/>
                  </a:lnTo>
                  <a:lnTo>
                    <a:pt x="6454" y="4457"/>
                  </a:lnTo>
                  <a:lnTo>
                    <a:pt x="7623" y="4336"/>
                  </a:lnTo>
                  <a:lnTo>
                    <a:pt x="7623" y="4336"/>
                  </a:lnTo>
                  <a:lnTo>
                    <a:pt x="7721" y="4311"/>
                  </a:lnTo>
                  <a:lnTo>
                    <a:pt x="7818" y="4262"/>
                  </a:lnTo>
                  <a:lnTo>
                    <a:pt x="7891" y="4189"/>
                  </a:lnTo>
                  <a:lnTo>
                    <a:pt x="7940" y="4116"/>
                  </a:lnTo>
                  <a:lnTo>
                    <a:pt x="8403" y="3045"/>
                  </a:lnTo>
                  <a:lnTo>
                    <a:pt x="8403" y="3045"/>
                  </a:lnTo>
                  <a:lnTo>
                    <a:pt x="8452" y="2972"/>
                  </a:lnTo>
                  <a:lnTo>
                    <a:pt x="8500" y="2947"/>
                  </a:lnTo>
                  <a:lnTo>
                    <a:pt x="8549" y="2972"/>
                  </a:lnTo>
                  <a:lnTo>
                    <a:pt x="8598" y="3045"/>
                  </a:lnTo>
                  <a:lnTo>
                    <a:pt x="9060" y="4116"/>
                  </a:lnTo>
                  <a:lnTo>
                    <a:pt x="9060" y="4116"/>
                  </a:lnTo>
                  <a:lnTo>
                    <a:pt x="9109" y="4189"/>
                  </a:lnTo>
                  <a:lnTo>
                    <a:pt x="9182" y="4262"/>
                  </a:lnTo>
                  <a:lnTo>
                    <a:pt x="9280" y="4311"/>
                  </a:lnTo>
                  <a:lnTo>
                    <a:pt x="9377" y="4336"/>
                  </a:lnTo>
                  <a:lnTo>
                    <a:pt x="10546" y="4457"/>
                  </a:lnTo>
                  <a:lnTo>
                    <a:pt x="10546" y="4457"/>
                  </a:lnTo>
                  <a:lnTo>
                    <a:pt x="10619" y="4482"/>
                  </a:lnTo>
                  <a:lnTo>
                    <a:pt x="10668" y="4506"/>
                  </a:lnTo>
                  <a:lnTo>
                    <a:pt x="10643" y="4579"/>
                  </a:lnTo>
                  <a:lnTo>
                    <a:pt x="10595" y="4628"/>
                  </a:lnTo>
                  <a:lnTo>
                    <a:pt x="10595" y="4628"/>
                  </a:lnTo>
                  <a:close/>
                  <a:moveTo>
                    <a:pt x="12494" y="8451"/>
                  </a:moveTo>
                  <a:lnTo>
                    <a:pt x="12494" y="8451"/>
                  </a:lnTo>
                  <a:lnTo>
                    <a:pt x="12787" y="7745"/>
                  </a:lnTo>
                  <a:lnTo>
                    <a:pt x="13006" y="7039"/>
                  </a:lnTo>
                  <a:lnTo>
                    <a:pt x="13225" y="6333"/>
                  </a:lnTo>
                  <a:lnTo>
                    <a:pt x="13396" y="5602"/>
                  </a:lnTo>
                  <a:lnTo>
                    <a:pt x="13517" y="4823"/>
                  </a:lnTo>
                  <a:lnTo>
                    <a:pt x="13639" y="4019"/>
                  </a:lnTo>
                  <a:lnTo>
                    <a:pt x="13712" y="3118"/>
                  </a:lnTo>
                  <a:lnTo>
                    <a:pt x="13761" y="2144"/>
                  </a:lnTo>
                  <a:lnTo>
                    <a:pt x="15928" y="2144"/>
                  </a:lnTo>
                  <a:lnTo>
                    <a:pt x="15928" y="2144"/>
                  </a:lnTo>
                  <a:lnTo>
                    <a:pt x="15928" y="2509"/>
                  </a:lnTo>
                  <a:lnTo>
                    <a:pt x="15880" y="2923"/>
                  </a:lnTo>
                  <a:lnTo>
                    <a:pt x="15831" y="3361"/>
                  </a:lnTo>
                  <a:lnTo>
                    <a:pt x="15758" y="3824"/>
                  </a:lnTo>
                  <a:lnTo>
                    <a:pt x="15661" y="4287"/>
                  </a:lnTo>
                  <a:lnTo>
                    <a:pt x="15514" y="4774"/>
                  </a:lnTo>
                  <a:lnTo>
                    <a:pt x="15368" y="5237"/>
                  </a:lnTo>
                  <a:lnTo>
                    <a:pt x="15173" y="5724"/>
                  </a:lnTo>
                  <a:lnTo>
                    <a:pt x="14954" y="6186"/>
                  </a:lnTo>
                  <a:lnTo>
                    <a:pt x="14711" y="6601"/>
                  </a:lnTo>
                  <a:lnTo>
                    <a:pt x="14418" y="7015"/>
                  </a:lnTo>
                  <a:lnTo>
                    <a:pt x="14102" y="7404"/>
                  </a:lnTo>
                  <a:lnTo>
                    <a:pt x="13761" y="7745"/>
                  </a:lnTo>
                  <a:lnTo>
                    <a:pt x="13566" y="7891"/>
                  </a:lnTo>
                  <a:lnTo>
                    <a:pt x="13371" y="8037"/>
                  </a:lnTo>
                  <a:lnTo>
                    <a:pt x="13176" y="8159"/>
                  </a:lnTo>
                  <a:lnTo>
                    <a:pt x="12957" y="8281"/>
                  </a:lnTo>
                  <a:lnTo>
                    <a:pt x="12738" y="8378"/>
                  </a:lnTo>
                  <a:lnTo>
                    <a:pt x="12494" y="8451"/>
                  </a:lnTo>
                  <a:lnTo>
                    <a:pt x="12494" y="8451"/>
                  </a:lnTo>
                  <a:close/>
                </a:path>
              </a:pathLst>
            </a:custGeom>
            <a:noFill/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898860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7439774"/>
              </p:ext>
            </p:extLst>
          </p:nvPr>
        </p:nvGraphicFramePr>
        <p:xfrm>
          <a:off x="199405" y="1497"/>
          <a:ext cx="1495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405" y="1497"/>
                        <a:ext cx="1495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207845" y="220406"/>
            <a:ext cx="5988848" cy="40011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</a:pPr>
            <a:r>
              <a:rPr lang="ru-RU" sz="1800" b="1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КТО РАБОТАЕТ НАД ПРОЕКТОМ, В КАКОМ ГОРОДЕ И КАКИЕ КОНТАКТЫ ДЛЯ СВЯЗИ</a:t>
            </a:r>
            <a:r>
              <a:rPr lang="en-US" sz="1800" b="1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?</a:t>
            </a:r>
            <a:endParaRPr lang="ru-RU" sz="1200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sp>
        <p:nvSpPr>
          <p:cNvPr id="44" name="Прямоугольник 1"/>
          <p:cNvSpPr/>
          <p:nvPr/>
        </p:nvSpPr>
        <p:spPr>
          <a:xfrm>
            <a:off x="2513426" y="3372345"/>
            <a:ext cx="1494920" cy="329321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dirty="0">
                <a:latin typeface="Calibri Light" panose="020F0302020204030204" pitchFamily="34" charset="0"/>
              </a:rPr>
              <a:t>МО, г. Фрязино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1408368" y="909616"/>
            <a:ext cx="3875864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bg2"/>
                </a:solidFill>
                <a:latin typeface="Calibri Light" panose="020F0302020204030204" pitchFamily="34" charset="0"/>
              </a:rPr>
              <a:t>По вопросам продвижения, продаж:</a:t>
            </a:r>
          </a:p>
          <a:p>
            <a:pPr algn="ctr"/>
            <a:r>
              <a:rPr lang="ru-RU" sz="1200" b="1" dirty="0">
                <a:solidFill>
                  <a:schemeClr val="bg2"/>
                </a:solidFill>
                <a:latin typeface="Calibri Light" panose="020F0302020204030204" pitchFamily="34" charset="0"/>
              </a:rPr>
              <a:t>Александр </a:t>
            </a:r>
            <a:r>
              <a:rPr lang="ru-RU" sz="1200" b="1" dirty="0" err="1">
                <a:solidFill>
                  <a:schemeClr val="bg2"/>
                </a:solidFill>
                <a:latin typeface="Calibri Light" panose="020F0302020204030204" pitchFamily="34" charset="0"/>
              </a:rPr>
              <a:t>Кауниетис</a:t>
            </a:r>
            <a:endParaRPr lang="ru-RU" sz="1200" b="1" dirty="0">
              <a:solidFill>
                <a:schemeClr val="bg2"/>
              </a:solidFill>
              <a:latin typeface="Calibri Light" panose="020F0302020204030204" pitchFamily="34" charset="0"/>
            </a:endParaRPr>
          </a:p>
          <a:p>
            <a:pPr algn="ctr"/>
            <a:r>
              <a:rPr lang="ru-RU" sz="1200" b="1" dirty="0">
                <a:solidFill>
                  <a:schemeClr val="bg2"/>
                </a:solidFill>
                <a:latin typeface="Calibri Light" panose="020F0302020204030204" pitchFamily="34" charset="0"/>
              </a:rPr>
              <a:t>ООО «</a:t>
            </a:r>
            <a:r>
              <a:rPr lang="ru-RU" sz="1200" b="1" dirty="0" err="1">
                <a:solidFill>
                  <a:schemeClr val="bg2"/>
                </a:solidFill>
                <a:latin typeface="Calibri Light" panose="020F0302020204030204" pitchFamily="34" charset="0"/>
              </a:rPr>
              <a:t>Кубит</a:t>
            </a:r>
            <a:r>
              <a:rPr lang="ru-RU" sz="1200" b="1" dirty="0">
                <a:solidFill>
                  <a:schemeClr val="bg2"/>
                </a:solidFill>
                <a:latin typeface="Calibri Light" panose="020F0302020204030204" pitchFamily="34" charset="0"/>
              </a:rPr>
              <a:t>»</a:t>
            </a:r>
          </a:p>
          <a:p>
            <a:pPr algn="ctr"/>
            <a:r>
              <a:rPr lang="ru-RU" sz="1050" dirty="0"/>
              <a:t>+7 </a:t>
            </a:r>
            <a:r>
              <a:rPr lang="en-US" sz="1050" dirty="0"/>
              <a:t>(</a:t>
            </a:r>
            <a:r>
              <a:rPr lang="ru-RU" sz="1050" dirty="0"/>
              <a:t>911</a:t>
            </a:r>
            <a:r>
              <a:rPr lang="en-US" sz="1050" dirty="0"/>
              <a:t>)</a:t>
            </a:r>
            <a:r>
              <a:rPr lang="ru-RU" sz="1050" dirty="0"/>
              <a:t> 774-88-99</a:t>
            </a:r>
            <a:endParaRPr lang="en-US" sz="1050" dirty="0"/>
          </a:p>
          <a:p>
            <a:pPr algn="ctr"/>
            <a:r>
              <a:rPr lang="en-US" u="sng" dirty="0"/>
              <a:t>tis@qubit.su</a:t>
            </a:r>
            <a:endParaRPr lang="ru-RU" u="sng" dirty="0"/>
          </a:p>
          <a:p>
            <a:pPr algn="ctr"/>
            <a:r>
              <a:rPr lang="ru-RU" sz="1200" b="1" dirty="0">
                <a:solidFill>
                  <a:schemeClr val="bg2"/>
                </a:solidFill>
                <a:latin typeface="Calibri Light" panose="020F0302020204030204" pitchFamily="34" charset="0"/>
              </a:rPr>
              <a:t>По всем остальным вопросам:</a:t>
            </a:r>
          </a:p>
          <a:p>
            <a:pPr algn="ctr"/>
            <a:r>
              <a:rPr lang="ru-RU" sz="1200" b="1" dirty="0">
                <a:solidFill>
                  <a:schemeClr val="bg2"/>
                </a:solidFill>
                <a:latin typeface="Calibri Light" panose="020F0302020204030204" pitchFamily="34" charset="0"/>
              </a:rPr>
              <a:t>Виталий Чернов</a:t>
            </a:r>
          </a:p>
          <a:p>
            <a:pPr algn="ctr"/>
            <a:r>
              <a:rPr lang="ru-RU" sz="1050" dirty="0"/>
              <a:t>+7 (901) 405 38 10</a:t>
            </a:r>
          </a:p>
          <a:p>
            <a:pPr algn="ctr"/>
            <a:r>
              <a:rPr lang="en-US" u="sng" dirty="0">
                <a:hlinkClick r:id="rId6"/>
              </a:rPr>
              <a:t>pdo.socrat@gmail.com</a:t>
            </a:r>
            <a:endParaRPr lang="ru-RU" u="sng" dirty="0"/>
          </a:p>
          <a:p>
            <a:pPr algn="ctr"/>
            <a:r>
              <a:rPr lang="en-US" dirty="0">
                <a:hlinkClick r:id="rId7"/>
              </a:rPr>
              <a:t>https://pdo-socrat.pro/</a:t>
            </a:r>
            <a:endParaRPr lang="ru-RU" dirty="0"/>
          </a:p>
          <a:p>
            <a:pPr algn="ctr"/>
            <a:r>
              <a:rPr lang="ru-RU" sz="1050" dirty="0">
                <a:latin typeface="Calibri Light" panose="020F0302020204030204" pitchFamily="34" charset="0"/>
              </a:rPr>
              <a:t>Высшее образование, аспирантура РАН, опыт в сфере ИТ и телекоммуникаций более 15 лет,</a:t>
            </a:r>
          </a:p>
          <a:p>
            <a:pPr algn="ctr"/>
            <a:r>
              <a:rPr lang="ru-RU" sz="1050" dirty="0">
                <a:latin typeface="Calibri Light" panose="020F0302020204030204" pitchFamily="34" charset="0"/>
              </a:rPr>
              <a:t>39 лет, женат, трое детей</a:t>
            </a:r>
          </a:p>
        </p:txBody>
      </p:sp>
      <p:sp>
        <p:nvSpPr>
          <p:cNvPr id="10" name="Прямоугольник 4"/>
          <p:cNvSpPr/>
          <p:nvPr/>
        </p:nvSpPr>
        <p:spPr>
          <a:xfrm>
            <a:off x="0" y="3849021"/>
            <a:ext cx="6857999" cy="276999"/>
          </a:xfrm>
          <a:prstGeom prst="rect">
            <a:avLst/>
          </a:prstGeom>
          <a:solidFill>
            <a:srgbClr val="80D3F1"/>
          </a:solidFill>
        </p:spPr>
        <p:txBody>
          <a:bodyPr wrap="square" anchor="ctr">
            <a:spAutoFit/>
          </a:bodyPr>
          <a:lstStyle/>
          <a:p>
            <a:pPr algn="ctr"/>
            <a:endParaRPr lang="ru-RU" sz="1200" dirty="0">
              <a:solidFill>
                <a:schemeClr val="tx1"/>
              </a:solidFill>
              <a:latin typeface="Calibri Light" panose="020F0302020204030204" pitchFamily="34" charset="0"/>
              <a:cs typeface="Lora" panose="020B0604020202020204" charset="0"/>
            </a:endParaRPr>
          </a:p>
        </p:txBody>
      </p:sp>
      <p:pic>
        <p:nvPicPr>
          <p:cNvPr id="6" name="Рисунок 5" descr="Изображение выглядит как человек, внешний, здание, мужчина&#10;&#10;Автоматически созданное описание">
            <a:extLst>
              <a:ext uri="{FF2B5EF4-FFF2-40B4-BE49-F238E27FC236}">
                <a16:creationId xmlns:a16="http://schemas.microsoft.com/office/drawing/2014/main" id="{EACA2B52-F617-4473-9EBB-8996549A90C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25314" y="1675552"/>
            <a:ext cx="1695941" cy="2002515"/>
          </a:xfrm>
          <a:prstGeom prst="rect">
            <a:avLst/>
          </a:prstGeom>
        </p:spPr>
      </p:pic>
      <p:pic>
        <p:nvPicPr>
          <p:cNvPr id="8" name="Рисунок 7" descr="Изображение выглядит как человек, мужчина, внутренний, монитор&#10;&#10;Автоматически созданное описание">
            <a:extLst>
              <a:ext uri="{FF2B5EF4-FFF2-40B4-BE49-F238E27FC236}">
                <a16:creationId xmlns:a16="http://schemas.microsoft.com/office/drawing/2014/main" id="{5190905E-541E-40FF-A13C-27050A0F05A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9934" y="909616"/>
            <a:ext cx="1552028" cy="2152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2113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A template">
  <a:themeElements>
    <a:clrScheme name="Поток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Viola template">
  <a:themeElements>
    <a:clrScheme name="Поток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Viola template">
  <a:themeElements>
    <a:clrScheme name="Поток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36</TotalTime>
  <Words>1305</Words>
  <Application>Microsoft Office PowerPoint</Application>
  <PresentationFormat>Произвольный</PresentationFormat>
  <Paragraphs>382</Paragraphs>
  <Slides>9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7" baseType="lpstr">
      <vt:lpstr>Lora</vt:lpstr>
      <vt:lpstr>Calibri</vt:lpstr>
      <vt:lpstr>Arial</vt:lpstr>
      <vt:lpstr>Calibri Light</vt:lpstr>
      <vt:lpstr>VA template</vt:lpstr>
      <vt:lpstr>2_Viola template</vt:lpstr>
      <vt:lpstr>1_Viola templat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your presentation title</dc:title>
  <dc:creator>Slidesign.ru</dc:creator>
  <cp:lastModifiedBy>Виталий Чернов</cp:lastModifiedBy>
  <cp:revision>171</cp:revision>
  <dcterms:modified xsi:type="dcterms:W3CDTF">2020-07-13T11:18:35Z</dcterms:modified>
</cp:coreProperties>
</file>